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notesSlides/notesSlide13.xml" ContentType="application/vnd.openxmlformats-officedocument.presentationml.notesSlide+xml"/>
  <Override PartName="/ppt/tags/tag21.xml" ContentType="application/vnd.openxmlformats-officedocument.presentationml.tags+xml"/>
  <Override PartName="/ppt/notesSlides/notesSlide14.xml" ContentType="application/vnd.openxmlformats-officedocument.presentationml.notesSlide+xml"/>
  <Override PartName="/ppt/tags/tag22.xml" ContentType="application/vnd.openxmlformats-officedocument.presentationml.tags+xml"/>
  <Override PartName="/ppt/notesSlides/notesSlide15.xml" ContentType="application/vnd.openxmlformats-officedocument.presentationml.notesSlide+xml"/>
  <Override PartName="/ppt/tags/tag23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24.xml" ContentType="application/vnd.openxmlformats-officedocument.presentationml.tags+xml"/>
  <Override PartName="/ppt/notesSlides/notesSlide18.xml" ContentType="application/vnd.openxmlformats-officedocument.presentationml.notesSlide+xml"/>
  <Override PartName="/ppt/tags/tag25.xml" ContentType="application/vnd.openxmlformats-officedocument.presentationml.tags+xml"/>
  <Override PartName="/ppt/notesSlides/notesSlide19.xml" ContentType="application/vnd.openxmlformats-officedocument.presentationml.notesSlide+xml"/>
  <Override PartName="/ppt/tags/tag26.xml" ContentType="application/vnd.openxmlformats-officedocument.presentationml.tags+xml"/>
  <Override PartName="/ppt/notesSlides/notesSlide20.xml" ContentType="application/vnd.openxmlformats-officedocument.presentationml.notesSlide+xml"/>
  <Override PartName="/ppt/tags/tag27.xml" ContentType="application/vnd.openxmlformats-officedocument.presentationml.tags+xml"/>
  <Override PartName="/ppt/notesSlides/notesSlide21.xml" ContentType="application/vnd.openxmlformats-officedocument.presentationml.notesSlide+xml"/>
  <Override PartName="/ppt/tags/tag28.xml" ContentType="application/vnd.openxmlformats-officedocument.presentationml.tags+xml"/>
  <Override PartName="/ppt/notesSlides/notesSlide22.xml" ContentType="application/vnd.openxmlformats-officedocument.presentationml.notesSlide+xml"/>
  <Override PartName="/ppt/tags/tag29.xml" ContentType="application/vnd.openxmlformats-officedocument.presentationml.tags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67" r:id="rId1"/>
  </p:sldMasterIdLst>
  <p:notesMasterIdLst>
    <p:notesMasterId r:id="rId44"/>
  </p:notesMasterIdLst>
  <p:handoutMasterIdLst>
    <p:handoutMasterId r:id="rId45"/>
  </p:handoutMasterIdLst>
  <p:sldIdLst>
    <p:sldId id="381" r:id="rId2"/>
    <p:sldId id="649" r:id="rId3"/>
    <p:sldId id="563" r:id="rId4"/>
    <p:sldId id="443" r:id="rId5"/>
    <p:sldId id="510" r:id="rId6"/>
    <p:sldId id="565" r:id="rId7"/>
    <p:sldId id="566" r:id="rId8"/>
    <p:sldId id="568" r:id="rId9"/>
    <p:sldId id="567" r:id="rId10"/>
    <p:sldId id="572" r:id="rId11"/>
    <p:sldId id="578" r:id="rId12"/>
    <p:sldId id="522" r:id="rId13"/>
    <p:sldId id="612" r:id="rId14"/>
    <p:sldId id="613" r:id="rId15"/>
    <p:sldId id="615" r:id="rId16"/>
    <p:sldId id="616" r:id="rId17"/>
    <p:sldId id="583" r:id="rId18"/>
    <p:sldId id="584" r:id="rId19"/>
    <p:sldId id="650" r:id="rId20"/>
    <p:sldId id="585" r:id="rId21"/>
    <p:sldId id="602" r:id="rId22"/>
    <p:sldId id="606" r:id="rId23"/>
    <p:sldId id="607" r:id="rId24"/>
    <p:sldId id="608" r:id="rId25"/>
    <p:sldId id="635" r:id="rId26"/>
    <p:sldId id="636" r:id="rId27"/>
    <p:sldId id="637" r:id="rId28"/>
    <p:sldId id="639" r:id="rId29"/>
    <p:sldId id="587" r:id="rId30"/>
    <p:sldId id="588" r:id="rId31"/>
    <p:sldId id="557" r:id="rId32"/>
    <p:sldId id="558" r:id="rId33"/>
    <p:sldId id="559" r:id="rId34"/>
    <p:sldId id="560" r:id="rId35"/>
    <p:sldId id="561" r:id="rId36"/>
    <p:sldId id="562" r:id="rId37"/>
    <p:sldId id="629" r:id="rId38"/>
    <p:sldId id="621" r:id="rId39"/>
    <p:sldId id="627" r:id="rId40"/>
    <p:sldId id="648" r:id="rId41"/>
    <p:sldId id="624" r:id="rId42"/>
    <p:sldId id="552" r:id="rId43"/>
  </p:sldIdLst>
  <p:sldSz cx="10668000" cy="7543800"/>
  <p:notesSz cx="6797675" cy="9926638"/>
  <p:custDataLst>
    <p:tags r:id="rId46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500" kern="1200">
        <a:solidFill>
          <a:srgbClr val="191919"/>
        </a:solidFill>
        <a:latin typeface="Verdana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500" kern="1200">
        <a:solidFill>
          <a:srgbClr val="191919"/>
        </a:solidFill>
        <a:latin typeface="Verdana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500" kern="1200">
        <a:solidFill>
          <a:srgbClr val="191919"/>
        </a:solidFill>
        <a:latin typeface="Verdana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500" kern="1200">
        <a:solidFill>
          <a:srgbClr val="191919"/>
        </a:solidFill>
        <a:latin typeface="Verdana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500" kern="1200">
        <a:solidFill>
          <a:srgbClr val="191919"/>
        </a:solidFill>
        <a:latin typeface="Verdana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500" kern="1200">
        <a:solidFill>
          <a:srgbClr val="191919"/>
        </a:solidFill>
        <a:latin typeface="Verdana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500" kern="1200">
        <a:solidFill>
          <a:srgbClr val="191919"/>
        </a:solidFill>
        <a:latin typeface="Verdana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500" kern="1200">
        <a:solidFill>
          <a:srgbClr val="191919"/>
        </a:solidFill>
        <a:latin typeface="Verdana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500" kern="1200">
        <a:solidFill>
          <a:srgbClr val="191919"/>
        </a:solidFill>
        <a:latin typeface="Verdana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400">
          <p15:clr>
            <a:srgbClr val="A4A3A4"/>
          </p15:clr>
        </p15:guide>
        <p15:guide id="2" pos="33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2001A"/>
    <a:srgbClr val="191919"/>
    <a:srgbClr val="333333"/>
    <a:srgbClr val="5F5F5F"/>
    <a:srgbClr val="AFAFAF"/>
    <a:srgbClr val="DF0029"/>
    <a:srgbClr val="DDDDDD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 Středně sytá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047" autoAdjust="0"/>
    <p:restoredTop sz="93060" autoAdjust="0"/>
  </p:normalViewPr>
  <p:slideViewPr>
    <p:cSldViewPr>
      <p:cViewPr varScale="1">
        <p:scale>
          <a:sx n="104" d="100"/>
          <a:sy n="104" d="100"/>
        </p:scale>
        <p:origin x="366" y="102"/>
      </p:cViewPr>
      <p:guideLst>
        <p:guide orient="horz" pos="2400"/>
        <p:guide pos="33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5" d="100"/>
        <a:sy n="95" d="100"/>
      </p:scale>
      <p:origin x="0" y="2098"/>
    </p:cViewPr>
  </p:sorterViewPr>
  <p:notesViewPr>
    <p:cSldViewPr>
      <p:cViewPr varScale="1">
        <p:scale>
          <a:sx n="61" d="100"/>
          <a:sy n="61" d="100"/>
        </p:scale>
        <p:origin x="-2674" y="-77"/>
      </p:cViewPr>
      <p:guideLst>
        <p:guide orient="horz" pos="3127"/>
        <p:guide pos="2141"/>
      </p:guideLst>
    </p:cSldViewPr>
  </p:notesViewPr>
  <p:gridSpacing cx="43200" cy="43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92" tIns="47246" rIns="94492" bIns="47246" numCol="1" anchor="t" anchorCtr="0" compatLnSpc="1">
            <a:prstTxWarp prst="textNoShape">
              <a:avLst/>
            </a:prstTxWarp>
          </a:bodyPr>
          <a:lstStyle>
            <a:lvl1pPr algn="l" defTabSz="945010"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92" tIns="47246" rIns="94492" bIns="47246" numCol="1" anchor="t" anchorCtr="0" compatLnSpc="1">
            <a:prstTxWarp prst="textNoShape">
              <a:avLst/>
            </a:prstTxWarp>
          </a:bodyPr>
          <a:lstStyle>
            <a:lvl1pPr algn="r" defTabSz="945010"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4513"/>
            <a:ext cx="29464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92" tIns="47246" rIns="94492" bIns="47246" numCol="1" anchor="b" anchorCtr="0" compatLnSpc="1">
            <a:prstTxWarp prst="textNoShape">
              <a:avLst/>
            </a:prstTxWarp>
          </a:bodyPr>
          <a:lstStyle>
            <a:lvl1pPr algn="l" defTabSz="945010"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4513"/>
            <a:ext cx="29464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92" tIns="47246" rIns="94492" bIns="47246" numCol="1" anchor="b" anchorCtr="0" compatLnSpc="1">
            <a:prstTxWarp prst="textNoShape">
              <a:avLst/>
            </a:prstTxWarp>
          </a:bodyPr>
          <a:lstStyle>
            <a:lvl1pPr algn="r" defTabSz="945010"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691D13C8-B740-4089-9497-AC7039598E2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82374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92" tIns="47246" rIns="94492" bIns="47246" numCol="1" anchor="t" anchorCtr="0" compatLnSpc="1">
            <a:prstTxWarp prst="textNoShape">
              <a:avLst/>
            </a:prstTxWarp>
          </a:bodyPr>
          <a:lstStyle>
            <a:lvl1pPr algn="l" defTabSz="945010"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92" tIns="47246" rIns="94492" bIns="47246" numCol="1" anchor="t" anchorCtr="0" compatLnSpc="1">
            <a:prstTxWarp prst="textNoShape">
              <a:avLst/>
            </a:prstTxWarp>
          </a:bodyPr>
          <a:lstStyle>
            <a:lvl1pPr algn="r" defTabSz="945010"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86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8350" y="742950"/>
            <a:ext cx="5265738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875"/>
            <a:ext cx="4984750" cy="446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92" tIns="47246" rIns="94492" bIns="472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Klicken Sie, um die Formate des Vorlagentextes zu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4513"/>
            <a:ext cx="29464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92" tIns="47246" rIns="94492" bIns="47246" numCol="1" anchor="b" anchorCtr="0" compatLnSpc="1">
            <a:prstTxWarp prst="textNoShape">
              <a:avLst/>
            </a:prstTxWarp>
          </a:bodyPr>
          <a:lstStyle>
            <a:lvl1pPr algn="l" defTabSz="945010"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4513"/>
            <a:ext cx="29464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92" tIns="47246" rIns="94492" bIns="47246" numCol="1" anchor="b" anchorCtr="0" compatLnSpc="1">
            <a:prstTxWarp prst="textNoShape">
              <a:avLst/>
            </a:prstTxWarp>
          </a:bodyPr>
          <a:lstStyle>
            <a:lvl1pPr algn="r" defTabSz="945010">
              <a:defRPr sz="110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560240C3-28BE-40F4-ABAF-2CB4F254F29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751618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2950"/>
            <a:ext cx="5265737" cy="3724275"/>
          </a:xfrm>
          <a:ln/>
        </p:spPr>
      </p:sp>
      <p:sp>
        <p:nvSpPr>
          <p:cNvPr id="696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463" y="4713288"/>
            <a:ext cx="4984750" cy="446881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de-DE" altLang="de-DE" smtClean="0"/>
              <a:t>See next slide!</a:t>
            </a:r>
          </a:p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15160171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2875" y="530225"/>
            <a:ext cx="7383463" cy="5222875"/>
          </a:xfrm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6073775"/>
            <a:ext cx="3457575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34175242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7"/>
          <p:cNvSpPr txBox="1">
            <a:spLocks noGrp="1" noChangeArrowheads="1"/>
          </p:cNvSpPr>
          <p:nvPr/>
        </p:nvSpPr>
        <p:spPr bwMode="auto">
          <a:xfrm>
            <a:off x="3851275" y="9432925"/>
            <a:ext cx="294640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197" tIns="47099" rIns="94197" bIns="47099" anchor="b"/>
          <a:lstStyle>
            <a:lvl1pPr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/>
            <a:fld id="{60156D30-11A5-4273-9F48-173EB839CD77}" type="slidenum">
              <a:rPr lang="en-GB" altLang="de-DE" sz="1000">
                <a:solidFill>
                  <a:schemeClr val="tx1"/>
                </a:solidFill>
                <a:latin typeface="Times New Roman" pitchFamily="18" charset="0"/>
              </a:rPr>
              <a:pPr algn="r" eaLnBrk="1" hangingPunct="1"/>
              <a:t>18</a:t>
            </a:fld>
            <a:endParaRPr lang="en-GB" altLang="de-DE" sz="10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839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0225"/>
            <a:ext cx="7385051" cy="5222875"/>
          </a:xfrm>
          <a:ln/>
        </p:spPr>
      </p:sp>
      <p:sp>
        <p:nvSpPr>
          <p:cNvPr id="839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6073775"/>
            <a:ext cx="3457575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6279020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7"/>
          <p:cNvSpPr txBox="1">
            <a:spLocks noGrp="1" noChangeArrowheads="1"/>
          </p:cNvSpPr>
          <p:nvPr/>
        </p:nvSpPr>
        <p:spPr bwMode="auto">
          <a:xfrm>
            <a:off x="3851275" y="9432925"/>
            <a:ext cx="294640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197" tIns="47099" rIns="94197" bIns="47099" anchor="b"/>
          <a:lstStyle>
            <a:lvl1pPr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/>
            <a:fld id="{60156D30-11A5-4273-9F48-173EB839CD77}" type="slidenum">
              <a:rPr lang="en-GB" altLang="de-DE" sz="1000">
                <a:solidFill>
                  <a:schemeClr val="tx1"/>
                </a:solidFill>
                <a:latin typeface="Times New Roman" pitchFamily="18" charset="0"/>
              </a:rPr>
              <a:pPr algn="r" eaLnBrk="1" hangingPunct="1"/>
              <a:t>19</a:t>
            </a:fld>
            <a:endParaRPr lang="en-GB" altLang="de-DE" sz="10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839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0225"/>
            <a:ext cx="7385051" cy="5222875"/>
          </a:xfrm>
          <a:ln/>
        </p:spPr>
      </p:sp>
      <p:sp>
        <p:nvSpPr>
          <p:cNvPr id="839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6073775"/>
            <a:ext cx="3457575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28082136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7"/>
          <p:cNvSpPr txBox="1">
            <a:spLocks noGrp="1" noChangeArrowheads="1"/>
          </p:cNvSpPr>
          <p:nvPr/>
        </p:nvSpPr>
        <p:spPr bwMode="auto">
          <a:xfrm>
            <a:off x="3851275" y="9432925"/>
            <a:ext cx="294640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197" tIns="47099" rIns="94197" bIns="47099" anchor="b"/>
          <a:lstStyle>
            <a:lvl1pPr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/>
            <a:fld id="{AEE70B09-5B18-4608-95A0-3B79E205D110}" type="slidenum">
              <a:rPr lang="en-GB" altLang="de-DE" sz="1000">
                <a:solidFill>
                  <a:schemeClr val="tx1"/>
                </a:solidFill>
                <a:latin typeface="Times New Roman" pitchFamily="18" charset="0"/>
              </a:rPr>
              <a:pPr algn="r" eaLnBrk="1" hangingPunct="1"/>
              <a:t>20</a:t>
            </a:fld>
            <a:endParaRPr lang="en-GB" altLang="de-DE" sz="10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849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0225"/>
            <a:ext cx="7385051" cy="5222875"/>
          </a:xfrm>
          <a:ln/>
        </p:spPr>
      </p:sp>
      <p:sp>
        <p:nvSpPr>
          <p:cNvPr id="849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6073775"/>
            <a:ext cx="3457575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5186276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1275" y="9434513"/>
            <a:ext cx="2946400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492" tIns="47246" rIns="94492" bIns="47246" anchor="b"/>
          <a:lstStyle/>
          <a:p>
            <a:pPr algn="r" defTabSz="945010">
              <a:defRPr/>
            </a:pPr>
            <a:fld id="{CA25FF49-8F17-4DD5-8CF1-D284999F1F47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5010">
                <a:defRPr/>
              </a:pPr>
              <a:t>21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870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3400"/>
            <a:ext cx="7383463" cy="5221288"/>
          </a:xfrm>
          <a:ln/>
        </p:spPr>
      </p:sp>
      <p:sp>
        <p:nvSpPr>
          <p:cNvPr id="870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7688" y="6073775"/>
            <a:ext cx="3459162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27630995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1275" y="9434513"/>
            <a:ext cx="2946400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492" tIns="47246" rIns="94492" bIns="47246" anchor="b"/>
          <a:lstStyle/>
          <a:p>
            <a:pPr algn="r" defTabSz="945010">
              <a:defRPr/>
            </a:pPr>
            <a:fld id="{AE1319E6-70E4-49FA-8777-AE4793780EDB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5010">
                <a:defRPr/>
              </a:pPr>
              <a:t>22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890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3400"/>
            <a:ext cx="7383463" cy="5221288"/>
          </a:xfrm>
          <a:ln/>
        </p:spPr>
      </p:sp>
      <p:sp>
        <p:nvSpPr>
          <p:cNvPr id="890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7688" y="6073775"/>
            <a:ext cx="3459162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23234845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1275" y="9434513"/>
            <a:ext cx="2946400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492" tIns="47246" rIns="94492" bIns="47246" anchor="b"/>
          <a:lstStyle/>
          <a:p>
            <a:pPr algn="r" defTabSz="945010">
              <a:defRPr/>
            </a:pPr>
            <a:fld id="{FCB13653-8570-42CC-8156-5E5F05805DB0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5010">
                <a:defRPr/>
              </a:pPr>
              <a:t>25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880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3400"/>
            <a:ext cx="7383463" cy="5221288"/>
          </a:xfrm>
          <a:ln/>
        </p:spPr>
      </p:sp>
      <p:sp>
        <p:nvSpPr>
          <p:cNvPr id="880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7688" y="6073775"/>
            <a:ext cx="3459162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30544209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9938" y="742950"/>
            <a:ext cx="5264150" cy="3722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FA428-12C1-478A-9414-D9913D2CA537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2147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2875" y="530225"/>
            <a:ext cx="7383463" cy="5222875"/>
          </a:xfrm>
          <a:ln/>
        </p:spPr>
      </p:sp>
      <p:sp>
        <p:nvSpPr>
          <p:cNvPr id="901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6073775"/>
            <a:ext cx="3457575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16529268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7"/>
          <p:cNvSpPr txBox="1">
            <a:spLocks noGrp="1" noChangeArrowheads="1"/>
          </p:cNvSpPr>
          <p:nvPr/>
        </p:nvSpPr>
        <p:spPr bwMode="auto">
          <a:xfrm>
            <a:off x="3851275" y="9432925"/>
            <a:ext cx="294640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197" tIns="47099" rIns="94197" bIns="47099" anchor="b"/>
          <a:lstStyle>
            <a:lvl1pPr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/>
            <a:fld id="{51EF4BA3-C181-4D37-8097-7F00E9F6207A}" type="slidenum">
              <a:rPr lang="en-GB" altLang="de-DE" sz="1000">
                <a:solidFill>
                  <a:schemeClr val="tx1"/>
                </a:solidFill>
                <a:latin typeface="Times New Roman" pitchFamily="18" charset="0"/>
              </a:rPr>
              <a:pPr algn="r" eaLnBrk="1" hangingPunct="1"/>
              <a:t>30</a:t>
            </a:fld>
            <a:endParaRPr lang="en-GB" altLang="de-DE" sz="10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11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0225"/>
            <a:ext cx="7385051" cy="5222875"/>
          </a:xfrm>
          <a:ln/>
        </p:spPr>
      </p:sp>
      <p:sp>
        <p:nvSpPr>
          <p:cNvPr id="911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6073775"/>
            <a:ext cx="3457575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41282457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1275" y="9434513"/>
            <a:ext cx="2946400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492" tIns="47246" rIns="94492" bIns="47246" anchor="b"/>
          <a:lstStyle/>
          <a:p>
            <a:pPr algn="r" defTabSz="945010">
              <a:defRPr/>
            </a:pPr>
            <a:fld id="{A4827937-2021-4EC4-AB9D-18E40EA4D55F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5010">
                <a:defRPr/>
              </a:pPr>
              <a:t>3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706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3400"/>
            <a:ext cx="7383463" cy="5221288"/>
          </a:xfrm>
          <a:ln/>
        </p:spPr>
      </p:sp>
      <p:sp>
        <p:nvSpPr>
          <p:cNvPr id="706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7688" y="6073775"/>
            <a:ext cx="3459162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38566468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1275" y="9434513"/>
            <a:ext cx="2946400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492" tIns="47246" rIns="94492" bIns="47246" anchor="b"/>
          <a:lstStyle/>
          <a:p>
            <a:pPr algn="r" defTabSz="945010">
              <a:defRPr/>
            </a:pPr>
            <a:fld id="{B460ECC1-A13C-4A9E-BF00-728F4024FD98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5010">
                <a:defRPr/>
              </a:pPr>
              <a:t>31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952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3400"/>
            <a:ext cx="7383463" cy="5221288"/>
          </a:xfrm>
          <a:ln/>
        </p:spPr>
      </p:sp>
      <p:sp>
        <p:nvSpPr>
          <p:cNvPr id="952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7688" y="6073775"/>
            <a:ext cx="3459162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20995134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1275" y="9434513"/>
            <a:ext cx="2946400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492" tIns="47246" rIns="94492" bIns="47246" anchor="b"/>
          <a:lstStyle/>
          <a:p>
            <a:pPr algn="r" defTabSz="945010">
              <a:defRPr/>
            </a:pPr>
            <a:fld id="{8AE0593B-2835-48EB-AABC-86DF37E3DC37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5010">
                <a:defRPr/>
              </a:pPr>
              <a:t>34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962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3400"/>
            <a:ext cx="7383463" cy="5221288"/>
          </a:xfrm>
          <a:ln/>
        </p:spPr>
      </p:sp>
      <p:sp>
        <p:nvSpPr>
          <p:cNvPr id="962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7688" y="6073775"/>
            <a:ext cx="3459162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29340696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1275" y="9434513"/>
            <a:ext cx="2946400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492" tIns="47246" rIns="94492" bIns="47246" anchor="b"/>
          <a:lstStyle/>
          <a:p>
            <a:pPr algn="r" defTabSz="945010">
              <a:defRPr/>
            </a:pPr>
            <a:fld id="{3F4ADEA5-B2CC-4854-95D8-967A5049F5DC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5010">
                <a:defRPr/>
              </a:pPr>
              <a:t>37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983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3400"/>
            <a:ext cx="7383463" cy="5221288"/>
          </a:xfrm>
          <a:ln/>
        </p:spPr>
      </p:sp>
      <p:sp>
        <p:nvSpPr>
          <p:cNvPr id="983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7688" y="6073775"/>
            <a:ext cx="3459162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831335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1275" y="9434513"/>
            <a:ext cx="2946400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492" tIns="47246" rIns="94492" bIns="47246" anchor="b"/>
          <a:lstStyle/>
          <a:p>
            <a:pPr algn="r" defTabSz="945010">
              <a:defRPr/>
            </a:pPr>
            <a:fld id="{6155A6B6-B282-4628-B3FE-5DCCDC0EF5F8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5010">
                <a:defRPr/>
              </a:pPr>
              <a:t>42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3400"/>
            <a:ext cx="7383463" cy="5221288"/>
          </a:xfrm>
          <a:ln/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7688" y="6073775"/>
            <a:ext cx="3459162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1975611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1275" y="9434513"/>
            <a:ext cx="2946400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492" tIns="47246" rIns="94492" bIns="47246" anchor="b"/>
          <a:lstStyle/>
          <a:p>
            <a:pPr algn="r" defTabSz="945010">
              <a:defRPr/>
            </a:pPr>
            <a:fld id="{5BFB953F-1D25-4EC4-B65D-0C2AD881E8C0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5010">
                <a:defRPr/>
              </a:pPr>
              <a:t>5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3400"/>
            <a:ext cx="7383463" cy="5221288"/>
          </a:xfrm>
          <a:ln/>
        </p:spPr>
      </p:sp>
      <p:sp>
        <p:nvSpPr>
          <p:cNvPr id="716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7688" y="6073775"/>
            <a:ext cx="3459162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18463438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1275" y="9434513"/>
            <a:ext cx="2946400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492" tIns="47246" rIns="94492" bIns="47246" anchor="b"/>
          <a:lstStyle/>
          <a:p>
            <a:pPr algn="r" defTabSz="945010">
              <a:defRPr/>
            </a:pPr>
            <a:fld id="{5643E3BC-EB57-4CC9-B252-AB12144FDE2F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5010">
                <a:defRPr/>
              </a:pPr>
              <a:t>7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727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3400"/>
            <a:ext cx="7383463" cy="5221288"/>
          </a:xfrm>
          <a:ln/>
        </p:spPr>
      </p:sp>
      <p:sp>
        <p:nvSpPr>
          <p:cNvPr id="727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7688" y="6073775"/>
            <a:ext cx="3459162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36354605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1275" y="9434513"/>
            <a:ext cx="2946400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492" tIns="47246" rIns="94492" bIns="47246" anchor="b"/>
          <a:lstStyle/>
          <a:p>
            <a:pPr algn="r" defTabSz="945010">
              <a:defRPr/>
            </a:pPr>
            <a:fld id="{A6C59E2A-E66D-4FE0-8EB2-81C2C6388BBC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5010">
                <a:defRPr/>
              </a:pPr>
              <a:t>11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3400"/>
            <a:ext cx="7383463" cy="5221288"/>
          </a:xfrm>
          <a:ln/>
        </p:spPr>
      </p:sp>
      <p:sp>
        <p:nvSpPr>
          <p:cNvPr id="747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7688" y="6073775"/>
            <a:ext cx="3459162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6647107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51275" y="9434513"/>
            <a:ext cx="2946400" cy="492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4492" tIns="47246" rIns="94492" bIns="47246" anchor="b"/>
          <a:lstStyle/>
          <a:p>
            <a:pPr algn="r" defTabSz="945010">
              <a:defRPr/>
            </a:pPr>
            <a:fld id="{56AB6551-A75B-4203-A284-FA2D529E0212}" type="slidenum">
              <a:rPr lang="en-GB" sz="1100">
                <a:solidFill>
                  <a:schemeClr val="tx1"/>
                </a:solidFill>
                <a:latin typeface="Times New Roman" pitchFamily="18" charset="0"/>
                <a:cs typeface="+mn-cs"/>
              </a:rPr>
              <a:pPr algn="r" defTabSz="945010">
                <a:defRPr/>
              </a:pPr>
              <a:t>13</a:t>
            </a:fld>
            <a:endParaRPr lang="en-GB" sz="1100">
              <a:solidFill>
                <a:schemeClr val="tx1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3400"/>
            <a:ext cx="7383463" cy="5221288"/>
          </a:xfrm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7688" y="6073775"/>
            <a:ext cx="3459162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14856511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/>
          <p:cNvSpPr txBox="1">
            <a:spLocks noGrp="1" noChangeArrowheads="1"/>
          </p:cNvSpPr>
          <p:nvPr/>
        </p:nvSpPr>
        <p:spPr bwMode="auto">
          <a:xfrm>
            <a:off x="3851275" y="9432925"/>
            <a:ext cx="294640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197" tIns="47099" rIns="94197" bIns="47099" anchor="b"/>
          <a:lstStyle>
            <a:lvl1pPr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/>
            <a:fld id="{BABC0E9F-B137-4041-9545-B4D3E9433373}" type="slidenum">
              <a:rPr lang="en-GB" altLang="de-DE" sz="1000">
                <a:solidFill>
                  <a:schemeClr val="tx1"/>
                </a:solidFill>
                <a:latin typeface="Times New Roman" pitchFamily="18" charset="0"/>
              </a:rPr>
              <a:pPr algn="r" eaLnBrk="1" hangingPunct="1"/>
              <a:t>14</a:t>
            </a:fld>
            <a:endParaRPr lang="en-GB" altLang="de-DE" sz="10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0225"/>
            <a:ext cx="7385051" cy="5222875"/>
          </a:xfrm>
          <a:ln/>
        </p:spPr>
      </p:sp>
      <p:sp>
        <p:nvSpPr>
          <p:cNvPr id="768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6073775"/>
            <a:ext cx="3457575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28075659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7"/>
          <p:cNvSpPr txBox="1">
            <a:spLocks noGrp="1" noChangeArrowheads="1"/>
          </p:cNvSpPr>
          <p:nvPr/>
        </p:nvSpPr>
        <p:spPr bwMode="auto">
          <a:xfrm>
            <a:off x="3851275" y="9432925"/>
            <a:ext cx="294640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197" tIns="47099" rIns="94197" bIns="47099" anchor="b"/>
          <a:lstStyle>
            <a:lvl1pPr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/>
            <a:fld id="{EF775491-4BBB-42F8-9CF1-0F4DA3FD79D5}" type="slidenum">
              <a:rPr lang="en-GB" altLang="de-DE" sz="1000">
                <a:solidFill>
                  <a:schemeClr val="tx1"/>
                </a:solidFill>
                <a:latin typeface="Times New Roman" pitchFamily="18" charset="0"/>
              </a:rPr>
              <a:pPr algn="r" eaLnBrk="1" hangingPunct="1"/>
              <a:t>15</a:t>
            </a:fld>
            <a:endParaRPr lang="en-GB" altLang="de-DE" sz="10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78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0225"/>
            <a:ext cx="7385051" cy="5222875"/>
          </a:xfrm>
          <a:ln/>
        </p:spPr>
      </p:sp>
      <p:sp>
        <p:nvSpPr>
          <p:cNvPr id="778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6073775"/>
            <a:ext cx="3457575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33153814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7"/>
          <p:cNvSpPr txBox="1">
            <a:spLocks noGrp="1" noChangeArrowheads="1"/>
          </p:cNvSpPr>
          <p:nvPr/>
        </p:nvSpPr>
        <p:spPr bwMode="auto">
          <a:xfrm>
            <a:off x="3851275" y="9432925"/>
            <a:ext cx="294640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197" tIns="47099" rIns="94197" bIns="47099" anchor="b"/>
          <a:lstStyle>
            <a:lvl1pPr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28688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/>
            <a:fld id="{3E532024-AB61-4705-A0ED-8701DDF53070}" type="slidenum">
              <a:rPr lang="en-GB" altLang="de-DE" sz="1000">
                <a:solidFill>
                  <a:schemeClr val="tx1"/>
                </a:solidFill>
                <a:latin typeface="Times New Roman" pitchFamily="18" charset="0"/>
              </a:rPr>
              <a:pPr algn="r" eaLnBrk="1" hangingPunct="1"/>
              <a:t>16</a:t>
            </a:fld>
            <a:endParaRPr lang="en-GB" altLang="de-DE" sz="100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14463" y="530225"/>
            <a:ext cx="7385051" cy="5222875"/>
          </a:xfrm>
          <a:ln/>
        </p:spPr>
      </p:sp>
      <p:sp>
        <p:nvSpPr>
          <p:cNvPr id="788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6073775"/>
            <a:ext cx="3457575" cy="5753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4671128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w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cs-CZ" altLang="de-DE"/>
          </a:p>
        </p:txBody>
      </p:sp>
      <p:pic>
        <p:nvPicPr>
          <p:cNvPr id="5" name="Picture 3" descr="Kopf_Startfolie dunkler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68000" cy="263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7438" y="752475"/>
            <a:ext cx="1357312" cy="104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2449513" y="2363788"/>
            <a:ext cx="8220075" cy="2698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cs-CZ" altLang="de-DE"/>
          </a:p>
        </p:txBody>
      </p:sp>
      <p:sp>
        <p:nvSpPr>
          <p:cNvPr id="265221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890963" y="1404938"/>
            <a:ext cx="6472237" cy="44291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6522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889375" y="5213350"/>
            <a:ext cx="5797550" cy="1173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8192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52482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405814" y="415926"/>
            <a:ext cx="1981199" cy="6213475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2457450" y="415926"/>
            <a:ext cx="5795963" cy="6213475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55707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3853765" y="795931"/>
            <a:ext cx="6916180" cy="570942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/>
          </p:nvPr>
        </p:nvSpPr>
        <p:spPr>
          <a:xfrm>
            <a:off x="2502949" y="2109416"/>
            <a:ext cx="7541172" cy="497509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3pPr>
              <a:buSzPct val="80000"/>
              <a:defRPr/>
            </a:lvl3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325158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183688" y="415925"/>
            <a:ext cx="6513513" cy="517525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646985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42963" y="4848226"/>
            <a:ext cx="9067800" cy="149701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42963" y="3197226"/>
            <a:ext cx="9067800" cy="165100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2148095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2457450" y="2332038"/>
            <a:ext cx="3511551" cy="42973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21401" y="2332038"/>
            <a:ext cx="3513137" cy="42973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599875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3400" y="301625"/>
            <a:ext cx="9601200" cy="1257300"/>
          </a:xfrm>
        </p:spPr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533400" y="1689101"/>
            <a:ext cx="4713288" cy="7032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533400" y="2392363"/>
            <a:ext cx="4713288" cy="43465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5419725" y="1689101"/>
            <a:ext cx="4714875" cy="7032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5419725" y="2392363"/>
            <a:ext cx="4714875" cy="43465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37161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933667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36265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3401" y="300039"/>
            <a:ext cx="3509963" cy="12779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170364" y="300038"/>
            <a:ext cx="5964238" cy="64389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533401" y="1577975"/>
            <a:ext cx="3509963" cy="51609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36327732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090737" y="5280025"/>
            <a:ext cx="6400800" cy="6238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2090737" y="674688"/>
            <a:ext cx="6400800" cy="452596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2090737" y="5903913"/>
            <a:ext cx="6400800" cy="88582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6723817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Neuer Kopf dunkelgrau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68000" cy="127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25613" y="327025"/>
            <a:ext cx="719137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4"/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auto">
          <a:xfrm>
            <a:off x="2449513" y="1008063"/>
            <a:ext cx="8220075" cy="2698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cs-CZ" altLang="de-DE"/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4537075" y="428625"/>
            <a:ext cx="611822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cs-CZ" alt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873500" y="415925"/>
            <a:ext cx="6513513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Headline</a:t>
            </a:r>
          </a:p>
        </p:txBody>
      </p:sp>
      <p:sp>
        <p:nvSpPr>
          <p:cNvPr id="1031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57450" y="2332038"/>
            <a:ext cx="7177088" cy="429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extmasterformate durch Klicken bearbeiten</a:t>
            </a:r>
          </a:p>
          <a:p>
            <a:pPr lvl="1"/>
            <a:r>
              <a:rPr lang="de-DE" altLang="de-DE" smtClean="0"/>
              <a:t>Erste Ebene</a:t>
            </a:r>
          </a:p>
          <a:p>
            <a:pPr lvl="2"/>
            <a:r>
              <a:rPr lang="de-DE" altLang="de-DE" smtClean="0"/>
              <a:t>Zweite Ebene</a:t>
            </a:r>
          </a:p>
          <a:p>
            <a:pPr lvl="3"/>
            <a:r>
              <a:rPr lang="de-DE" altLang="de-DE" smtClean="0"/>
              <a:t>- Drit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09" r:id="rId2"/>
    <p:sldLayoutId id="2147484110" r:id="rId3"/>
    <p:sldLayoutId id="2147484111" r:id="rId4"/>
    <p:sldLayoutId id="2147484112" r:id="rId5"/>
    <p:sldLayoutId id="2147484113" r:id="rId6"/>
    <p:sldLayoutId id="2147484114" r:id="rId7"/>
    <p:sldLayoutId id="2147484115" r:id="rId8"/>
    <p:sldLayoutId id="2147484116" r:id="rId9"/>
    <p:sldLayoutId id="2147484117" r:id="rId10"/>
    <p:sldLayoutId id="2147484118" r:id="rId11"/>
    <p:sldLayoutId id="2147484120" r:id="rId1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5pPr>
      <a:lvl6pPr marL="4572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6pPr>
      <a:lvl7pPr marL="9144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7pPr>
      <a:lvl8pPr marL="13716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8pPr>
      <a:lvl9pPr marL="18288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DF0029"/>
        </a:buClr>
        <a:buFont typeface="Wingdings" pitchFamily="2" charset="2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88913" indent="-187325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2pPr>
      <a:lvl3pPr marL="347663" indent="-157163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Verdana" pitchFamily="34" charset="0"/>
        <a:buChar char="□"/>
        <a:defRPr sz="1500">
          <a:solidFill>
            <a:schemeClr val="tx1"/>
          </a:solidFill>
          <a:latin typeface="+mn-lt"/>
        </a:defRPr>
      </a:lvl3pPr>
      <a:lvl4pPr marL="711200" indent="-160338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defRPr sz="1500">
          <a:solidFill>
            <a:schemeClr val="tx1"/>
          </a:solidFill>
          <a:latin typeface="+mn-lt"/>
        </a:defRPr>
      </a:lvl4pPr>
      <a:lvl5pPr marL="2135188" indent="-228600" algn="l" rtl="0" eaLnBrk="0" fontAlgn="base" hangingPunct="0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rgbClr val="191919"/>
          </a:solidFill>
          <a:latin typeface="+mn-lt"/>
        </a:defRPr>
      </a:lvl5pPr>
      <a:lvl6pPr marL="2592388" indent="-228600" algn="l" rtl="0" fontAlgn="base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rgbClr val="191919"/>
          </a:solidFill>
          <a:latin typeface="+mn-lt"/>
        </a:defRPr>
      </a:lvl6pPr>
      <a:lvl7pPr marL="3049588" indent="-228600" algn="l" rtl="0" fontAlgn="base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rgbClr val="191919"/>
          </a:solidFill>
          <a:latin typeface="+mn-lt"/>
        </a:defRPr>
      </a:lvl7pPr>
      <a:lvl8pPr marL="3506788" indent="-228600" algn="l" rtl="0" fontAlgn="base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rgbClr val="191919"/>
          </a:solidFill>
          <a:latin typeface="+mn-lt"/>
        </a:defRPr>
      </a:lvl8pPr>
      <a:lvl9pPr marL="3963988" indent="-228600" algn="l" rtl="0" fontAlgn="base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rgbClr val="191919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.xml"/><Relationship Id="rId4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4" Type="http://schemas.openxmlformats.org/officeDocument/2006/relationships/image" Target="../media/image2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0" y="2598738"/>
            <a:ext cx="10668000" cy="15494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4059" tIns="52029" rIns="104059" bIns="52029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cs-CZ" altLang="de-DE"/>
          </a:p>
        </p:txBody>
      </p:sp>
      <p:sp>
        <p:nvSpPr>
          <p:cNvPr id="4099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890963" y="1404938"/>
            <a:ext cx="4078287" cy="442912"/>
          </a:xfrm>
        </p:spPr>
        <p:txBody>
          <a:bodyPr/>
          <a:lstStyle/>
          <a:p>
            <a:pPr eaLnBrk="1" hangingPunct="1"/>
            <a:r>
              <a:rPr lang="de-DE" altLang="de-DE" sz="1800" smtClean="0"/>
              <a:t>Grease Separators from </a:t>
            </a:r>
            <a:br>
              <a:rPr lang="de-DE" altLang="de-DE" sz="1800" smtClean="0"/>
            </a:br>
            <a:r>
              <a:rPr lang="de-DE" altLang="de-DE" sz="1800" smtClean="0"/>
              <a:t>ACO Haustechnik</a:t>
            </a:r>
          </a:p>
        </p:txBody>
      </p:sp>
      <p:sp>
        <p:nvSpPr>
          <p:cNvPr id="4100" name="Rectangle 11"/>
          <p:cNvSpPr>
            <a:spLocks noChangeArrowheads="1"/>
          </p:cNvSpPr>
          <p:nvPr/>
        </p:nvSpPr>
        <p:spPr bwMode="auto">
          <a:xfrm>
            <a:off x="3906838" y="6148388"/>
            <a:ext cx="5768975" cy="89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</a:pPr>
            <a:r>
              <a:rPr lang="de-DE" altLang="de-DE" smtClean="0">
                <a:solidFill>
                  <a:schemeClr val="bg1"/>
                </a:solidFill>
              </a:rPr>
              <a:t>Matthias Jäger</a:t>
            </a:r>
            <a:br>
              <a:rPr lang="de-DE" altLang="de-DE" smtClean="0">
                <a:solidFill>
                  <a:schemeClr val="bg1"/>
                </a:solidFill>
              </a:rPr>
            </a:br>
            <a:r>
              <a:rPr lang="de-DE" altLang="de-DE" smtClean="0">
                <a:solidFill>
                  <a:schemeClr val="bg1"/>
                </a:solidFill>
              </a:rPr>
              <a:t>Product Management Treatment Systems</a:t>
            </a:r>
            <a:br>
              <a:rPr lang="de-DE" altLang="de-DE" smtClean="0">
                <a:solidFill>
                  <a:schemeClr val="bg1"/>
                </a:solidFill>
              </a:rPr>
            </a:br>
            <a:r>
              <a:rPr lang="de-DE" altLang="de-DE" smtClean="0">
                <a:solidFill>
                  <a:schemeClr val="bg1"/>
                </a:solidFill>
              </a:rPr>
              <a:t>ACO Haustechnik</a:t>
            </a:r>
            <a:endParaRPr lang="de-DE" altLang="de-DE">
              <a:solidFill>
                <a:schemeClr val="bg1"/>
              </a:solidFill>
            </a:endParaRPr>
          </a:p>
        </p:txBody>
      </p:sp>
      <p:sp>
        <p:nvSpPr>
          <p:cNvPr id="4101" name="Rectangle 3"/>
          <p:cNvSpPr>
            <a:spLocks noChangeArrowheads="1"/>
          </p:cNvSpPr>
          <p:nvPr/>
        </p:nvSpPr>
        <p:spPr bwMode="auto">
          <a:xfrm>
            <a:off x="0" y="2597150"/>
            <a:ext cx="10668000" cy="1698625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9600" y="2312153"/>
            <a:ext cx="6543675" cy="3733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7048500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altLang="de-DE" dirty="0" smtClean="0"/>
              <a:t>The Problems with Greasy Waste Water #3</a:t>
            </a:r>
          </a:p>
        </p:txBody>
      </p:sp>
      <p:sp>
        <p:nvSpPr>
          <p:cNvPr id="7" name="Rectangle 1027"/>
          <p:cNvSpPr txBox="1">
            <a:spLocks noChangeArrowheads="1"/>
          </p:cNvSpPr>
          <p:nvPr/>
        </p:nvSpPr>
        <p:spPr bwMode="auto">
          <a:xfrm>
            <a:off x="538163" y="1784350"/>
            <a:ext cx="9720262" cy="112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9pPr>
          </a:lstStyle>
          <a:p>
            <a:pPr marL="0" indent="0" eaLnBrk="0" hangingPunct="0">
              <a:buClr>
                <a:schemeClr val="accent1"/>
              </a:buClr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If greasy waste water reaches </a:t>
            </a:r>
            <a:r>
              <a:rPr lang="en-US" sz="1800" b="1" u="sng" dirty="0" smtClean="0">
                <a:solidFill>
                  <a:schemeClr val="tx1"/>
                </a:solidFill>
              </a:rPr>
              <a:t>municipal wastewater treatment plants</a:t>
            </a:r>
            <a:r>
              <a:rPr lang="en-US" sz="1800" dirty="0" smtClean="0">
                <a:solidFill>
                  <a:schemeClr val="tx1"/>
                </a:solidFill>
              </a:rPr>
              <a:t>, then the grease will cause malfunction of the entire plant.</a:t>
            </a: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eaLnBrk="0" hangingPunct="0">
              <a:buClr>
                <a:schemeClr val="accent1"/>
              </a:buClr>
              <a:buFontTx/>
              <a:buChar char="•"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sp>
        <p:nvSpPr>
          <p:cNvPr id="6" name="Rectangle 1027"/>
          <p:cNvSpPr txBox="1">
            <a:spLocks noChangeArrowheads="1"/>
          </p:cNvSpPr>
          <p:nvPr/>
        </p:nvSpPr>
        <p:spPr bwMode="auto">
          <a:xfrm>
            <a:off x="279400" y="4592638"/>
            <a:ext cx="5141913" cy="112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9pPr>
          </a:lstStyle>
          <a:p>
            <a:pPr marL="0" indent="0" eaLnBrk="0" hangingPunct="0">
              <a:buClr>
                <a:schemeClr val="accent1"/>
              </a:buClr>
              <a:defRPr/>
            </a:pPr>
            <a:r>
              <a:rPr lang="en-US" sz="1800" b="1" u="sng" dirty="0" smtClean="0">
                <a:solidFill>
                  <a:schemeClr val="tx1"/>
                </a:solidFill>
              </a:rPr>
              <a:t>Effect: </a:t>
            </a: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42900" indent="-342900" eaLnBrk="0" hangingPunct="0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800" b="1" dirty="0" smtClean="0">
                <a:solidFill>
                  <a:schemeClr val="tx1"/>
                </a:solidFill>
              </a:rPr>
              <a:t>Local authorities have to allocate high amounts of tax payer’s money to maintain the municipal wastewater treatment plants.</a:t>
            </a:r>
            <a:endParaRPr lang="en-US" sz="1800" dirty="0" smtClean="0">
              <a:solidFill>
                <a:schemeClr val="tx1"/>
              </a:solidFill>
            </a:endParaRP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eaLnBrk="0" hangingPunct="0">
              <a:buClr>
                <a:schemeClr val="accent1"/>
              </a:buClr>
              <a:buFontTx/>
              <a:buChar char="•"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8000" y="4160700"/>
            <a:ext cx="3583388" cy="242867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19459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19460" name="Text Box 4"/>
          <p:cNvSpPr txBox="1">
            <a:spLocks noChangeArrowheads="1"/>
          </p:cNvSpPr>
          <p:nvPr/>
        </p:nvSpPr>
        <p:spPr bwMode="auto">
          <a:xfrm>
            <a:off x="1575600" y="2835144"/>
            <a:ext cx="7894638" cy="282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altLang="de-DE" sz="3600" b="1" dirty="0">
                <a:solidFill>
                  <a:schemeClr val="bg1"/>
                </a:solidFill>
              </a:rPr>
              <a:t>Function of </a:t>
            </a:r>
            <a:br>
              <a:rPr lang="de-DE" altLang="de-DE" sz="3600" b="1" dirty="0">
                <a:solidFill>
                  <a:schemeClr val="bg1"/>
                </a:solidFill>
              </a:rPr>
            </a:br>
            <a:r>
              <a:rPr lang="de-DE" altLang="de-DE" sz="3600" b="1" dirty="0" smtClean="0">
                <a:solidFill>
                  <a:schemeClr val="bg1"/>
                </a:solidFill>
              </a:rPr>
              <a:t>Grease Separators</a:t>
            </a:r>
            <a:r>
              <a:rPr lang="de-DE" altLang="de-DE" sz="3600" b="1" dirty="0">
                <a:solidFill>
                  <a:schemeClr val="bg1"/>
                </a:solidFill>
              </a:rPr>
              <a:t/>
            </a:r>
            <a:br>
              <a:rPr lang="de-DE" altLang="de-DE" sz="3600" b="1" dirty="0">
                <a:solidFill>
                  <a:schemeClr val="bg1"/>
                </a:solidFill>
              </a:rPr>
            </a:br>
            <a:endParaRPr lang="de-DE" altLang="de-DE" sz="3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8105775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altLang="de-DE" smtClean="0"/>
              <a:t>Grease Separators: Gravity Separation</a:t>
            </a:r>
          </a:p>
        </p:txBody>
      </p:sp>
      <p:sp>
        <p:nvSpPr>
          <p:cNvPr id="20483" name="Text Box 17"/>
          <p:cNvSpPr txBox="1">
            <a:spLocks noChangeArrowheads="1"/>
          </p:cNvSpPr>
          <p:nvPr/>
        </p:nvSpPr>
        <p:spPr bwMode="auto">
          <a:xfrm>
            <a:off x="7202488" y="2154238"/>
            <a:ext cx="3236912" cy="631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sz="2000" b="1">
                <a:solidFill>
                  <a:schemeClr val="tx1"/>
                </a:solidFill>
              </a:rPr>
              <a:t>1.</a:t>
            </a:r>
            <a:r>
              <a:rPr lang="de-DE" altLang="de-DE">
                <a:solidFill>
                  <a:schemeClr val="tx1"/>
                </a:solidFill>
              </a:rPr>
              <a:t> Influent with fats, oils and grease</a:t>
            </a:r>
          </a:p>
        </p:txBody>
      </p:sp>
      <p:sp>
        <p:nvSpPr>
          <p:cNvPr id="79890" name="Text Box 18"/>
          <p:cNvSpPr txBox="1">
            <a:spLocks noChangeArrowheads="1"/>
          </p:cNvSpPr>
          <p:nvPr/>
        </p:nvSpPr>
        <p:spPr bwMode="auto">
          <a:xfrm>
            <a:off x="7202488" y="3341688"/>
            <a:ext cx="3236912" cy="631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sz="2000" b="1">
                <a:solidFill>
                  <a:schemeClr val="tx1"/>
                </a:solidFill>
              </a:rPr>
              <a:t>2.</a:t>
            </a:r>
            <a:r>
              <a:rPr lang="de-DE" altLang="de-DE">
                <a:solidFill>
                  <a:schemeClr val="tx1"/>
                </a:solidFill>
              </a:rPr>
              <a:t>  Fats, oil and grease float up to the surface</a:t>
            </a:r>
          </a:p>
        </p:txBody>
      </p:sp>
      <p:sp>
        <p:nvSpPr>
          <p:cNvPr id="79891" name="Text Box 19"/>
          <p:cNvSpPr txBox="1">
            <a:spLocks noChangeArrowheads="1"/>
          </p:cNvSpPr>
          <p:nvPr/>
        </p:nvSpPr>
        <p:spPr bwMode="auto">
          <a:xfrm>
            <a:off x="7213600" y="4405313"/>
            <a:ext cx="3238500" cy="630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sz="2000" b="1">
                <a:solidFill>
                  <a:schemeClr val="tx1"/>
                </a:solidFill>
              </a:rPr>
              <a:t>3.</a:t>
            </a:r>
            <a:r>
              <a:rPr lang="de-DE" altLang="de-DE">
                <a:solidFill>
                  <a:schemeClr val="tx1"/>
                </a:solidFill>
              </a:rPr>
              <a:t>  Solids will sediment on the bottom</a:t>
            </a:r>
          </a:p>
        </p:txBody>
      </p:sp>
      <p:sp>
        <p:nvSpPr>
          <p:cNvPr id="27" name="Text Box 19"/>
          <p:cNvSpPr txBox="1">
            <a:spLocks noChangeArrowheads="1"/>
          </p:cNvSpPr>
          <p:nvPr/>
        </p:nvSpPr>
        <p:spPr bwMode="auto">
          <a:xfrm>
            <a:off x="7210425" y="5459413"/>
            <a:ext cx="3238500" cy="862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sz="2000" b="1">
                <a:solidFill>
                  <a:schemeClr val="tx1"/>
                </a:solidFill>
              </a:rPr>
              <a:t>4.</a:t>
            </a:r>
            <a:r>
              <a:rPr lang="de-DE" altLang="de-DE">
                <a:solidFill>
                  <a:schemeClr val="tx1"/>
                </a:solidFill>
              </a:rPr>
              <a:t>  Cleaned effluent can be discharged into the sewage system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7600" y="2154238"/>
            <a:ext cx="5567363" cy="386482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8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98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98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798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8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98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98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798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891" grpId="0"/>
      <p:bldP spid="2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21507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endParaRPr lang="de-DE" altLang="de-DE" dirty="0"/>
          </a:p>
        </p:txBody>
      </p:sp>
      <p:sp>
        <p:nvSpPr>
          <p:cNvPr id="21508" name="Text Box 4"/>
          <p:cNvSpPr txBox="1">
            <a:spLocks noChangeArrowheads="1"/>
          </p:cNvSpPr>
          <p:nvPr/>
        </p:nvSpPr>
        <p:spPr bwMode="auto">
          <a:xfrm>
            <a:off x="1386681" y="2361406"/>
            <a:ext cx="7894638" cy="282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altLang="de-DE" sz="3600" b="1" dirty="0">
                <a:solidFill>
                  <a:schemeClr val="bg1"/>
                </a:solidFill>
              </a:rPr>
              <a:t>Overall </a:t>
            </a:r>
            <a:r>
              <a:rPr lang="de-DE" altLang="de-DE" sz="3600" b="1" dirty="0" smtClean="0">
                <a:solidFill>
                  <a:schemeClr val="bg1"/>
                </a:solidFill>
              </a:rPr>
              <a:t>Advantages </a:t>
            </a:r>
            <a:r>
              <a:rPr lang="de-DE" altLang="de-DE" sz="3600" b="1" dirty="0">
                <a:solidFill>
                  <a:schemeClr val="bg1"/>
                </a:solidFill>
              </a:rPr>
              <a:t>of </a:t>
            </a:r>
            <a:r>
              <a:rPr lang="de-DE" altLang="de-DE" sz="3600" b="1" dirty="0" smtClean="0">
                <a:solidFill>
                  <a:schemeClr val="bg1"/>
                </a:solidFill>
              </a:rPr>
              <a:t>Appliance </a:t>
            </a:r>
            <a:r>
              <a:rPr lang="de-DE" altLang="de-DE" sz="3600" b="1" dirty="0">
                <a:solidFill>
                  <a:schemeClr val="bg1"/>
                </a:solidFill>
              </a:rPr>
              <a:t>of </a:t>
            </a:r>
            <a:br>
              <a:rPr lang="de-DE" altLang="de-DE" sz="3600" b="1" dirty="0">
                <a:solidFill>
                  <a:schemeClr val="bg1"/>
                </a:solidFill>
              </a:rPr>
            </a:br>
            <a:r>
              <a:rPr lang="de-DE" altLang="de-DE" sz="3600" b="1" dirty="0" smtClean="0">
                <a:solidFill>
                  <a:schemeClr val="bg1"/>
                </a:solidFill>
              </a:rPr>
              <a:t>Gravity Grease Separators</a:t>
            </a:r>
            <a:endParaRPr lang="de-DE" altLang="de-DE" sz="3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3"/>
          <p:cNvSpPr>
            <a:spLocks noChangeArrowheads="1"/>
          </p:cNvSpPr>
          <p:nvPr/>
        </p:nvSpPr>
        <p:spPr bwMode="auto">
          <a:xfrm>
            <a:off x="2655600" y="363236"/>
            <a:ext cx="7645013" cy="48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en-GB" altLang="de-DE" sz="2000" b="1" dirty="0">
                <a:solidFill>
                  <a:schemeClr val="tx1"/>
                </a:solidFill>
              </a:rPr>
              <a:t>Overall </a:t>
            </a:r>
            <a:r>
              <a:rPr lang="en-GB" altLang="de-DE" sz="2000" b="1" dirty="0" smtClean="0">
                <a:solidFill>
                  <a:schemeClr val="tx1"/>
                </a:solidFill>
              </a:rPr>
              <a:t>Advantages </a:t>
            </a:r>
            <a:r>
              <a:rPr lang="en-GB" altLang="de-DE" sz="2000" b="1" dirty="0">
                <a:solidFill>
                  <a:schemeClr val="tx1"/>
                </a:solidFill>
              </a:rPr>
              <a:t>of </a:t>
            </a:r>
            <a:r>
              <a:rPr lang="en-GB" altLang="de-DE" sz="2000" b="1" dirty="0" smtClean="0">
                <a:solidFill>
                  <a:schemeClr val="tx1"/>
                </a:solidFill>
              </a:rPr>
              <a:t>Gravity Grease Separators #1</a:t>
            </a:r>
            <a:endParaRPr lang="en-GB" altLang="de-DE" sz="2000" b="1" dirty="0">
              <a:solidFill>
                <a:schemeClr val="tx1"/>
              </a:solidFill>
            </a:endParaRPr>
          </a:p>
        </p:txBody>
      </p:sp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2336800" y="1525588"/>
            <a:ext cx="4343400" cy="16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252000" bIns="0"/>
          <a:lstStyle>
            <a:lvl1pPr marL="342900" indent="-3429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1588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lvl="1" eaLnBrk="1" hangingPunct="1">
              <a:lnSpc>
                <a:spcPts val="2200"/>
              </a:lnSpc>
              <a:buClr>
                <a:schemeClr val="tx1"/>
              </a:buClr>
              <a:buSzPct val="90000"/>
              <a:buFont typeface="StoneSans-Bold"/>
              <a:buNone/>
            </a:pPr>
            <a:endParaRPr lang="de-DE" altLang="de-DE" sz="1600" b="1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236538" y="1957388"/>
            <a:ext cx="9849462" cy="116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447675" lvl="2" indent="-285750">
              <a:buClr>
                <a:schemeClr val="accent1"/>
              </a:buClr>
              <a:buSzPct val="85000"/>
              <a:buFont typeface="Wingdings" pitchFamily="2" charset="2"/>
              <a:buChar char="§"/>
              <a:tabLst>
                <a:tab pos="203200" algn="l"/>
              </a:tabLst>
              <a:defRPr/>
            </a:pPr>
            <a:r>
              <a:rPr lang="en-US" sz="1800" dirty="0" smtClean="0">
                <a:solidFill>
                  <a:schemeClr val="tx1"/>
                </a:solidFill>
                <a:cs typeface="Arial" charset="0"/>
              </a:rPr>
              <a:t>Stakeholders </a:t>
            </a:r>
            <a:r>
              <a:rPr lang="en-US" sz="1800" dirty="0">
                <a:solidFill>
                  <a:schemeClr val="tx1"/>
                </a:solidFill>
                <a:cs typeface="Arial" charset="0"/>
              </a:rPr>
              <a:t>need </a:t>
            </a:r>
            <a:r>
              <a:rPr lang="en-US" sz="1800" b="1" dirty="0">
                <a:solidFill>
                  <a:schemeClr val="tx1"/>
                </a:solidFill>
                <a:cs typeface="Arial" charset="0"/>
              </a:rPr>
              <a:t>no regular investment </a:t>
            </a:r>
            <a:r>
              <a:rPr lang="en-US" sz="1800" dirty="0">
                <a:solidFill>
                  <a:schemeClr val="tx1"/>
                </a:solidFill>
                <a:cs typeface="Arial" charset="0"/>
              </a:rPr>
              <a:t>on drainage </a:t>
            </a:r>
            <a:r>
              <a:rPr lang="en-US" sz="1800" b="1" dirty="0">
                <a:solidFill>
                  <a:schemeClr val="tx1"/>
                </a:solidFill>
                <a:cs typeface="Arial" charset="0"/>
              </a:rPr>
              <a:t>repairs</a:t>
            </a:r>
            <a:r>
              <a:rPr lang="en-US" sz="1800" dirty="0">
                <a:solidFill>
                  <a:schemeClr val="tx1"/>
                </a:solidFill>
                <a:cs typeface="Arial" charset="0"/>
              </a:rPr>
              <a:t> since pipe system remain in good condition</a:t>
            </a:r>
          </a:p>
          <a:p>
            <a:pPr marL="447675" lvl="2" indent="-285750">
              <a:buClr>
                <a:schemeClr val="accent1"/>
              </a:buClr>
              <a:buSzPct val="85000"/>
              <a:buFont typeface="Wingdings" pitchFamily="2" charset="2"/>
              <a:buChar char="§"/>
              <a:tabLst>
                <a:tab pos="203200" algn="l"/>
              </a:tabLst>
              <a:defRPr/>
            </a:pPr>
            <a:endParaRPr lang="en-US" sz="1800" dirty="0">
              <a:solidFill>
                <a:schemeClr val="tx1"/>
              </a:solidFill>
              <a:cs typeface="Arial" charset="0"/>
            </a:endParaRPr>
          </a:p>
          <a:p>
            <a:pPr marL="161925" lvl="2">
              <a:lnSpc>
                <a:spcPct val="150000"/>
              </a:lnSpc>
              <a:buClr>
                <a:schemeClr val="accent1"/>
              </a:buClr>
              <a:buSzPct val="85000"/>
              <a:tabLst>
                <a:tab pos="203200" algn="l"/>
              </a:tabLst>
              <a:defRPr/>
            </a:pPr>
            <a:endParaRPr lang="en-US" sz="18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782923" y="6734845"/>
            <a:ext cx="237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800" b="1" dirty="0" smtClean="0"/>
              <a:t>Save Money</a:t>
            </a:r>
            <a:endParaRPr lang="de-DE" sz="1800" b="1" dirty="0"/>
          </a:p>
        </p:txBody>
      </p:sp>
      <p:sp>
        <p:nvSpPr>
          <p:cNvPr id="5" name="Textfeld 4"/>
          <p:cNvSpPr txBox="1"/>
          <p:nvPr/>
        </p:nvSpPr>
        <p:spPr>
          <a:xfrm>
            <a:off x="594657" y="6734845"/>
            <a:ext cx="3758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800" b="1" dirty="0" smtClean="0"/>
              <a:t>Clean Sewage Pipe</a:t>
            </a:r>
            <a:endParaRPr lang="de-DE" sz="1800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000" y="3553954"/>
            <a:ext cx="9810750" cy="275272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utoUpdateAnimBg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3"/>
          <p:cNvSpPr>
            <a:spLocks noChangeArrowheads="1"/>
          </p:cNvSpPr>
          <p:nvPr/>
        </p:nvSpPr>
        <p:spPr bwMode="auto">
          <a:xfrm>
            <a:off x="2698800" y="359100"/>
            <a:ext cx="7688213" cy="44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en-GB" altLang="de-DE" sz="2000" b="1" dirty="0">
                <a:solidFill>
                  <a:schemeClr val="tx1"/>
                </a:solidFill>
              </a:rPr>
              <a:t>Overall </a:t>
            </a:r>
            <a:r>
              <a:rPr lang="en-GB" altLang="de-DE" sz="2000" b="1" dirty="0" smtClean="0">
                <a:solidFill>
                  <a:schemeClr val="tx1"/>
                </a:solidFill>
              </a:rPr>
              <a:t>Advantages </a:t>
            </a:r>
            <a:r>
              <a:rPr lang="en-GB" altLang="de-DE" sz="2000" b="1" dirty="0">
                <a:solidFill>
                  <a:schemeClr val="tx1"/>
                </a:solidFill>
              </a:rPr>
              <a:t>of </a:t>
            </a:r>
            <a:r>
              <a:rPr lang="en-GB" altLang="de-DE" sz="2000" b="1" dirty="0" smtClean="0">
                <a:solidFill>
                  <a:schemeClr val="tx1"/>
                </a:solidFill>
              </a:rPr>
              <a:t>Gravity Grease Separators #2</a:t>
            </a:r>
            <a:endParaRPr lang="en-GB" altLang="de-DE" sz="2000" b="1" dirty="0">
              <a:solidFill>
                <a:schemeClr val="tx1"/>
              </a:solidFill>
            </a:endParaRPr>
          </a:p>
        </p:txBody>
      </p:sp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2336800" y="1525588"/>
            <a:ext cx="4343400" cy="16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252000" bIns="0"/>
          <a:lstStyle>
            <a:lvl1pPr marL="342900" indent="-3429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1588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lvl="1" eaLnBrk="1" hangingPunct="1">
              <a:lnSpc>
                <a:spcPts val="2200"/>
              </a:lnSpc>
              <a:buClr>
                <a:schemeClr val="tx1"/>
              </a:buClr>
              <a:buSzPct val="90000"/>
              <a:buFont typeface="StoneSans-Bold"/>
              <a:buNone/>
            </a:pPr>
            <a:endParaRPr lang="de-DE" altLang="de-DE" sz="1600" b="1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236538" y="1957388"/>
            <a:ext cx="10281462" cy="77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447675" lvl="2" indent="-285750">
              <a:lnSpc>
                <a:spcPct val="150000"/>
              </a:lnSpc>
              <a:buClr>
                <a:schemeClr val="accent1"/>
              </a:buClr>
              <a:buSzPct val="85000"/>
              <a:buFont typeface="Wingdings" panose="05000000000000000000" pitchFamily="2" charset="2"/>
              <a:buChar char="§"/>
              <a:tabLst>
                <a:tab pos="203200" algn="l"/>
              </a:tabLst>
              <a:defRPr/>
            </a:pPr>
            <a:r>
              <a:rPr lang="en-US" sz="18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800" dirty="0" smtClean="0">
                <a:solidFill>
                  <a:schemeClr val="tx1"/>
                </a:solidFill>
                <a:cs typeface="Arial" charset="0"/>
              </a:rPr>
              <a:t>Remarkable </a:t>
            </a:r>
            <a:r>
              <a:rPr lang="en-US" sz="1800" b="1" u="sng" dirty="0">
                <a:solidFill>
                  <a:schemeClr val="tx1"/>
                </a:solidFill>
                <a:cs typeface="Arial" charset="0"/>
              </a:rPr>
              <a:t>reduction of valuable drinking water consumption </a:t>
            </a:r>
            <a:r>
              <a:rPr lang="en-US" sz="1800" dirty="0" smtClean="0">
                <a:solidFill>
                  <a:schemeClr val="tx1"/>
                </a:solidFill>
                <a:cs typeface="Arial" charset="0"/>
              </a:rPr>
              <a:t>for  </a:t>
            </a:r>
          </a:p>
          <a:p>
            <a:pPr marL="161925" lvl="2">
              <a:lnSpc>
                <a:spcPct val="150000"/>
              </a:lnSpc>
              <a:buClr>
                <a:schemeClr val="accent1"/>
              </a:buClr>
              <a:buSzPct val="85000"/>
              <a:tabLst>
                <a:tab pos="203200" algn="l"/>
              </a:tabLst>
              <a:defRPr/>
            </a:pPr>
            <a:r>
              <a:rPr lang="en-US" sz="18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800" dirty="0" smtClean="0">
                <a:solidFill>
                  <a:schemeClr val="tx1"/>
                </a:solidFill>
                <a:cs typeface="Arial" charset="0"/>
              </a:rPr>
              <a:t>   cleaning/maintenance </a:t>
            </a:r>
            <a:r>
              <a:rPr lang="en-US" sz="1800" dirty="0">
                <a:solidFill>
                  <a:schemeClr val="tx1"/>
                </a:solidFill>
                <a:cs typeface="Arial" charset="0"/>
              </a:rPr>
              <a:t>of both private and public drainage systems</a:t>
            </a:r>
          </a:p>
          <a:p>
            <a:pPr marL="447675" lvl="2" indent="-285750">
              <a:buClr>
                <a:schemeClr val="accent1"/>
              </a:buClr>
              <a:buSzPct val="85000"/>
              <a:buFont typeface="Wingdings" pitchFamily="2" charset="2"/>
              <a:buChar char="§"/>
              <a:tabLst>
                <a:tab pos="203200" algn="l"/>
              </a:tabLst>
              <a:defRPr/>
            </a:pPr>
            <a:endParaRPr lang="en-US" sz="1800" dirty="0">
              <a:solidFill>
                <a:schemeClr val="tx1"/>
              </a:solidFill>
              <a:cs typeface="Arial" charset="0"/>
            </a:endParaRPr>
          </a:p>
          <a:p>
            <a:pPr marL="336550" lvl="2" indent="-174625">
              <a:lnSpc>
                <a:spcPct val="150000"/>
              </a:lnSpc>
              <a:buClr>
                <a:schemeClr val="accent1"/>
              </a:buClr>
              <a:buSzPct val="85000"/>
              <a:buFont typeface="Verdana" pitchFamily="34" charset="0"/>
              <a:buChar char="□"/>
              <a:tabLst>
                <a:tab pos="203200" algn="l"/>
              </a:tabLst>
              <a:defRPr/>
            </a:pPr>
            <a:endParaRPr lang="en-US" sz="1800" dirty="0">
              <a:solidFill>
                <a:schemeClr val="tx1"/>
              </a:solidFill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82869" y="3037500"/>
            <a:ext cx="5788800" cy="3864729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utoUpdateAnimBg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3"/>
          <p:cNvSpPr>
            <a:spLocks noChangeArrowheads="1"/>
          </p:cNvSpPr>
          <p:nvPr/>
        </p:nvSpPr>
        <p:spPr bwMode="auto">
          <a:xfrm>
            <a:off x="2655600" y="315900"/>
            <a:ext cx="7558613" cy="48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en-GB" altLang="de-DE" sz="2000" b="1" dirty="0">
                <a:solidFill>
                  <a:schemeClr val="tx1"/>
                </a:solidFill>
              </a:rPr>
              <a:t>Overall </a:t>
            </a:r>
            <a:r>
              <a:rPr lang="en-GB" altLang="de-DE" sz="2000" b="1" dirty="0" smtClean="0">
                <a:solidFill>
                  <a:schemeClr val="tx1"/>
                </a:solidFill>
              </a:rPr>
              <a:t>Advantages </a:t>
            </a:r>
            <a:r>
              <a:rPr lang="en-GB" altLang="de-DE" sz="2000" b="1" dirty="0">
                <a:solidFill>
                  <a:schemeClr val="tx1"/>
                </a:solidFill>
              </a:rPr>
              <a:t>of </a:t>
            </a:r>
            <a:r>
              <a:rPr lang="en-GB" altLang="de-DE" sz="2000" b="1" dirty="0" smtClean="0">
                <a:solidFill>
                  <a:schemeClr val="tx1"/>
                </a:solidFill>
              </a:rPr>
              <a:t>Gravity Grease Separators #3</a:t>
            </a:r>
            <a:endParaRPr lang="en-GB" altLang="de-DE" sz="2000" b="1" dirty="0">
              <a:solidFill>
                <a:schemeClr val="tx1"/>
              </a:solidFill>
            </a:endParaRPr>
          </a:p>
        </p:txBody>
      </p:sp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2336800" y="1525588"/>
            <a:ext cx="4343400" cy="16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252000" bIns="0"/>
          <a:lstStyle>
            <a:lvl1pPr marL="342900" indent="-3429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1588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lvl="1" eaLnBrk="1" hangingPunct="1">
              <a:lnSpc>
                <a:spcPts val="2200"/>
              </a:lnSpc>
              <a:buClr>
                <a:schemeClr val="tx1"/>
              </a:buClr>
              <a:buSzPct val="90000"/>
              <a:buFont typeface="StoneSans-Bold"/>
              <a:buNone/>
            </a:pPr>
            <a:endParaRPr lang="de-DE" altLang="de-DE" sz="1600" b="1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236538" y="1784700"/>
            <a:ext cx="9503862" cy="159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447675" lvl="2" indent="-285750">
              <a:lnSpc>
                <a:spcPct val="150000"/>
              </a:lnSpc>
              <a:buClr>
                <a:schemeClr val="accent1"/>
              </a:buClr>
              <a:buSzPct val="85000"/>
              <a:buFont typeface="Wingdings" panose="05000000000000000000" pitchFamily="2" charset="2"/>
              <a:buChar char="§"/>
              <a:tabLst>
                <a:tab pos="203200" algn="l"/>
              </a:tabLst>
              <a:defRPr/>
            </a:pPr>
            <a:r>
              <a:rPr lang="en-US" sz="18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800" b="1" u="sng" dirty="0" smtClean="0">
                <a:solidFill>
                  <a:schemeClr val="tx1"/>
                </a:solidFill>
                <a:cs typeface="Arial" charset="0"/>
              </a:rPr>
              <a:t>No </a:t>
            </a:r>
            <a:r>
              <a:rPr lang="en-US" sz="1800" b="1" u="sng" dirty="0">
                <a:solidFill>
                  <a:schemeClr val="tx1"/>
                </a:solidFill>
                <a:cs typeface="Arial" charset="0"/>
              </a:rPr>
              <a:t>biohazards through chemicals </a:t>
            </a:r>
            <a:r>
              <a:rPr lang="en-US" sz="1800" dirty="0">
                <a:solidFill>
                  <a:schemeClr val="tx1"/>
                </a:solidFill>
                <a:cs typeface="Arial" charset="0"/>
              </a:rPr>
              <a:t>used in dosing systems which can </a:t>
            </a:r>
            <a:r>
              <a:rPr lang="en-US" sz="1800" dirty="0" smtClean="0">
                <a:solidFill>
                  <a:schemeClr val="tx1"/>
                </a:solidFill>
                <a:cs typeface="Arial" charset="0"/>
              </a:rPr>
              <a:t>  </a:t>
            </a:r>
          </a:p>
          <a:p>
            <a:pPr marL="161925" lvl="2">
              <a:lnSpc>
                <a:spcPct val="150000"/>
              </a:lnSpc>
              <a:buClr>
                <a:schemeClr val="accent1"/>
              </a:buClr>
              <a:buSzPct val="85000"/>
              <a:tabLst>
                <a:tab pos="203200" algn="l"/>
              </a:tabLst>
              <a:defRPr/>
            </a:pPr>
            <a:r>
              <a:rPr lang="en-US" sz="18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800" dirty="0" smtClean="0">
                <a:solidFill>
                  <a:schemeClr val="tx1"/>
                </a:solidFill>
                <a:cs typeface="Arial" charset="0"/>
              </a:rPr>
              <a:t>   cause </a:t>
            </a:r>
            <a:r>
              <a:rPr lang="en-US" sz="1800" dirty="0">
                <a:solidFill>
                  <a:schemeClr val="tx1"/>
                </a:solidFill>
                <a:cs typeface="Arial" charset="0"/>
              </a:rPr>
              <a:t>malfunction in the municipal wastewater treatment plants or </a:t>
            </a:r>
            <a:r>
              <a:rPr lang="en-US" sz="1800" dirty="0" smtClean="0">
                <a:solidFill>
                  <a:schemeClr val="tx1"/>
                </a:solidFill>
                <a:cs typeface="Arial" charset="0"/>
              </a:rPr>
              <a:t>pollute    </a:t>
            </a:r>
          </a:p>
          <a:p>
            <a:pPr marL="161925" lvl="2">
              <a:lnSpc>
                <a:spcPct val="150000"/>
              </a:lnSpc>
              <a:buClr>
                <a:schemeClr val="accent1"/>
              </a:buClr>
              <a:buSzPct val="85000"/>
              <a:tabLst>
                <a:tab pos="203200" algn="l"/>
              </a:tabLst>
              <a:defRPr/>
            </a:pPr>
            <a:r>
              <a:rPr lang="en-US" sz="18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800" dirty="0" smtClean="0">
                <a:solidFill>
                  <a:schemeClr val="tx1"/>
                </a:solidFill>
                <a:cs typeface="Arial" charset="0"/>
              </a:rPr>
              <a:t>   drinking </a:t>
            </a:r>
            <a:r>
              <a:rPr lang="en-US" sz="1800" dirty="0">
                <a:solidFill>
                  <a:schemeClr val="tx1"/>
                </a:solidFill>
                <a:cs typeface="Arial" charset="0"/>
              </a:rPr>
              <a:t>water</a:t>
            </a:r>
          </a:p>
          <a:p>
            <a:pPr marL="336550" lvl="2" indent="-174625">
              <a:lnSpc>
                <a:spcPct val="150000"/>
              </a:lnSpc>
              <a:buClr>
                <a:schemeClr val="accent1"/>
              </a:buClr>
              <a:buSzPct val="85000"/>
              <a:buFont typeface="Verdana" pitchFamily="34" charset="0"/>
              <a:buChar char="□"/>
              <a:tabLst>
                <a:tab pos="203200" algn="l"/>
              </a:tabLst>
              <a:defRPr/>
            </a:pPr>
            <a:endParaRPr lang="en-US" sz="1800" dirty="0">
              <a:solidFill>
                <a:schemeClr val="tx1"/>
              </a:solidFill>
              <a:cs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8000" y="3396037"/>
            <a:ext cx="6609600" cy="3593569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utoUpdateAnimBg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28675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endParaRPr lang="de-DE" altLang="de-DE"/>
          </a:p>
        </p:txBody>
      </p:sp>
      <p:sp>
        <p:nvSpPr>
          <p:cNvPr id="28676" name="Text Box 4"/>
          <p:cNvSpPr txBox="1">
            <a:spLocks noChangeArrowheads="1"/>
          </p:cNvSpPr>
          <p:nvPr/>
        </p:nvSpPr>
        <p:spPr bwMode="auto">
          <a:xfrm>
            <a:off x="949456" y="2656006"/>
            <a:ext cx="8769087" cy="2231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altLang="de-DE" sz="3600" b="1" dirty="0">
                <a:solidFill>
                  <a:schemeClr val="bg1"/>
                </a:solidFill>
              </a:rPr>
              <a:t>ACO Grease Separators:</a:t>
            </a:r>
          </a:p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altLang="de-DE" sz="3600" b="1" dirty="0">
                <a:solidFill>
                  <a:schemeClr val="bg1"/>
                </a:solidFill>
              </a:rPr>
              <a:t>Systems for Complete Disposal</a:t>
            </a:r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ChangeArrowheads="1"/>
          </p:cNvSpPr>
          <p:nvPr/>
        </p:nvSpPr>
        <p:spPr bwMode="auto">
          <a:xfrm>
            <a:off x="3873500" y="228600"/>
            <a:ext cx="6513513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en-GB" altLang="de-DE" sz="2000" b="1">
                <a:solidFill>
                  <a:schemeClr val="tx1"/>
                </a:solidFill>
              </a:rPr>
              <a:t>Grease Traps according to EN 1825:</a:t>
            </a:r>
            <a:br>
              <a:rPr lang="en-GB" altLang="de-DE" sz="2000" b="1">
                <a:solidFill>
                  <a:schemeClr val="tx1"/>
                </a:solidFill>
              </a:rPr>
            </a:br>
            <a:r>
              <a:rPr lang="en-GB" altLang="de-DE" sz="2000" b="1">
                <a:solidFill>
                  <a:schemeClr val="tx1"/>
                </a:solidFill>
              </a:rPr>
              <a:t>Operation/Complete Disposal</a:t>
            </a:r>
          </a:p>
        </p:txBody>
      </p:sp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2336800" y="1525588"/>
            <a:ext cx="4343400" cy="16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252000" bIns="0"/>
          <a:lstStyle>
            <a:lvl1pPr marL="342900" indent="-3429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1588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lvl="1" eaLnBrk="1" hangingPunct="1">
              <a:lnSpc>
                <a:spcPts val="2200"/>
              </a:lnSpc>
              <a:buClr>
                <a:schemeClr val="tx1"/>
              </a:buClr>
              <a:buSzPct val="90000"/>
              <a:buFont typeface="StoneSans-Bold"/>
              <a:buNone/>
            </a:pPr>
            <a:endParaRPr lang="de-DE" altLang="de-DE" sz="1600" b="1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236538" y="1525588"/>
            <a:ext cx="9676662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336550" lvl="2" indent="-174625">
              <a:lnSpc>
                <a:spcPct val="150000"/>
              </a:lnSpc>
              <a:buClr>
                <a:schemeClr val="accent1"/>
              </a:buClr>
              <a:buSzPct val="85000"/>
              <a:buFont typeface="Verdana" pitchFamily="34" charset="0"/>
              <a:buNone/>
              <a:tabLst>
                <a:tab pos="203200" algn="l"/>
              </a:tabLst>
              <a:defRPr/>
            </a:pPr>
            <a:endParaRPr lang="en-US" sz="1800" dirty="0">
              <a:solidFill>
                <a:schemeClr val="tx1"/>
              </a:solidFill>
              <a:cs typeface="Arial" charset="0"/>
            </a:endParaRPr>
          </a:p>
          <a:p>
            <a:pPr marL="447675" lvl="2" indent="-285750">
              <a:buClr>
                <a:schemeClr val="accent1"/>
              </a:buClr>
              <a:buSzPct val="85000"/>
              <a:buFont typeface="Wingdings" pitchFamily="2" charset="2"/>
              <a:buChar char="§"/>
              <a:tabLst>
                <a:tab pos="203200" algn="l"/>
              </a:tabLst>
              <a:defRPr/>
            </a:pPr>
            <a:r>
              <a:rPr lang="en-US" sz="1800" dirty="0" smtClean="0">
                <a:solidFill>
                  <a:schemeClr val="tx1"/>
                </a:solidFill>
                <a:cs typeface="Arial" charset="0"/>
              </a:rPr>
              <a:t>Disposal </a:t>
            </a:r>
            <a:r>
              <a:rPr lang="en-US" sz="1800" dirty="0">
                <a:solidFill>
                  <a:schemeClr val="tx1"/>
                </a:solidFill>
                <a:cs typeface="Arial" charset="0"/>
              </a:rPr>
              <a:t>process to be accomplished during non-required time</a:t>
            </a:r>
          </a:p>
          <a:p>
            <a:pPr marL="447675" lvl="2" indent="-285750">
              <a:buClr>
                <a:schemeClr val="accent1"/>
              </a:buClr>
              <a:buSzPct val="85000"/>
              <a:buFont typeface="Wingdings" pitchFamily="2" charset="2"/>
              <a:buChar char="§"/>
              <a:tabLst>
                <a:tab pos="203200" algn="l"/>
              </a:tabLst>
              <a:defRPr/>
            </a:pPr>
            <a:endParaRPr lang="en-US" sz="1800" dirty="0">
              <a:solidFill>
                <a:schemeClr val="tx1"/>
              </a:solidFill>
              <a:cs typeface="Arial" charset="0"/>
            </a:endParaRPr>
          </a:p>
          <a:p>
            <a:pPr marL="447675" lvl="2" indent="-285750">
              <a:buClr>
                <a:schemeClr val="accent1"/>
              </a:buClr>
              <a:buSzPct val="85000"/>
              <a:buFont typeface="Wingdings" pitchFamily="2" charset="2"/>
              <a:buChar char="§"/>
              <a:tabLst>
                <a:tab pos="203200" algn="l"/>
              </a:tabLst>
              <a:defRPr/>
            </a:pPr>
            <a:r>
              <a:rPr lang="en-US" sz="1800" dirty="0">
                <a:solidFill>
                  <a:schemeClr val="tx1"/>
                </a:solidFill>
                <a:cs typeface="Arial" charset="0"/>
              </a:rPr>
              <a:t>Recycling truck with vacuum pump needed</a:t>
            </a:r>
          </a:p>
          <a:p>
            <a:pPr marL="336550" lvl="2" indent="-174625">
              <a:lnSpc>
                <a:spcPct val="150000"/>
              </a:lnSpc>
              <a:buClr>
                <a:schemeClr val="accent1"/>
              </a:buClr>
              <a:buSzPct val="85000"/>
              <a:buFont typeface="Verdana" pitchFamily="34" charset="0"/>
              <a:buChar char="□"/>
              <a:tabLst>
                <a:tab pos="203200" algn="l"/>
              </a:tabLst>
              <a:defRPr/>
            </a:pPr>
            <a:endParaRPr lang="en-US" sz="1800" dirty="0">
              <a:solidFill>
                <a:schemeClr val="tx1"/>
              </a:solidFill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0000" y="3426300"/>
            <a:ext cx="7992000" cy="3573797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utoUpdateAnimBg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ChangeArrowheads="1"/>
          </p:cNvSpPr>
          <p:nvPr/>
        </p:nvSpPr>
        <p:spPr bwMode="auto">
          <a:xfrm>
            <a:off x="3873500" y="228600"/>
            <a:ext cx="6513513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en-GB" altLang="de-DE" sz="2000" b="1">
                <a:solidFill>
                  <a:schemeClr val="tx1"/>
                </a:solidFill>
              </a:rPr>
              <a:t>Grease Traps according to EN 1825:</a:t>
            </a:r>
            <a:br>
              <a:rPr lang="en-GB" altLang="de-DE" sz="2000" b="1">
                <a:solidFill>
                  <a:schemeClr val="tx1"/>
                </a:solidFill>
              </a:rPr>
            </a:br>
            <a:r>
              <a:rPr lang="en-GB" altLang="de-DE" sz="2000" b="1">
                <a:solidFill>
                  <a:schemeClr val="tx1"/>
                </a:solidFill>
              </a:rPr>
              <a:t>Operation/Complete Disposal</a:t>
            </a:r>
          </a:p>
        </p:txBody>
      </p:sp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2336800" y="1525588"/>
            <a:ext cx="4343400" cy="16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252000" bIns="0"/>
          <a:lstStyle>
            <a:lvl1pPr marL="342900" indent="-3429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1588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lvl="1" eaLnBrk="1" hangingPunct="1">
              <a:lnSpc>
                <a:spcPts val="2200"/>
              </a:lnSpc>
              <a:buClr>
                <a:schemeClr val="tx1"/>
              </a:buClr>
              <a:buSzPct val="90000"/>
              <a:buFont typeface="StoneSans-Bold"/>
              <a:buNone/>
            </a:pPr>
            <a:endParaRPr lang="de-DE" altLang="de-DE" sz="1600" b="1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236538" y="1525588"/>
            <a:ext cx="9676662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336550" lvl="2" indent="-174625">
              <a:lnSpc>
                <a:spcPct val="150000"/>
              </a:lnSpc>
              <a:buClr>
                <a:schemeClr val="accent1"/>
              </a:buClr>
              <a:buSzPct val="85000"/>
              <a:buFont typeface="Verdana" pitchFamily="34" charset="0"/>
              <a:buNone/>
              <a:tabLst>
                <a:tab pos="203200" algn="l"/>
              </a:tabLst>
              <a:defRPr/>
            </a:pPr>
            <a:endParaRPr lang="en-US" sz="1800" dirty="0">
              <a:solidFill>
                <a:schemeClr val="tx1"/>
              </a:solidFill>
              <a:cs typeface="Arial" charset="0"/>
            </a:endParaRPr>
          </a:p>
          <a:p>
            <a:pPr marL="447675" lvl="2" indent="-285750">
              <a:buClr>
                <a:schemeClr val="accent1"/>
              </a:buClr>
              <a:buSzPct val="85000"/>
              <a:buFont typeface="Wingdings" pitchFamily="2" charset="2"/>
              <a:buChar char="§"/>
              <a:tabLst>
                <a:tab pos="203200" algn="l"/>
              </a:tabLst>
              <a:defRPr/>
            </a:pPr>
            <a:r>
              <a:rPr lang="en-US" sz="1800" dirty="0" smtClean="0">
                <a:solidFill>
                  <a:schemeClr val="tx1"/>
                </a:solidFill>
                <a:cs typeface="Arial" charset="0"/>
              </a:rPr>
              <a:t>Disposal </a:t>
            </a:r>
            <a:r>
              <a:rPr lang="en-US" sz="1800" dirty="0">
                <a:solidFill>
                  <a:schemeClr val="tx1"/>
                </a:solidFill>
                <a:cs typeface="Arial" charset="0"/>
              </a:rPr>
              <a:t>process to be accomplished during non-required time</a:t>
            </a:r>
          </a:p>
          <a:p>
            <a:pPr marL="447675" lvl="2" indent="-285750">
              <a:buClr>
                <a:schemeClr val="accent1"/>
              </a:buClr>
              <a:buSzPct val="85000"/>
              <a:buFont typeface="Wingdings" pitchFamily="2" charset="2"/>
              <a:buChar char="§"/>
              <a:tabLst>
                <a:tab pos="203200" algn="l"/>
              </a:tabLst>
              <a:defRPr/>
            </a:pPr>
            <a:endParaRPr lang="en-US" sz="1800" dirty="0">
              <a:solidFill>
                <a:schemeClr val="tx1"/>
              </a:solidFill>
              <a:cs typeface="Arial" charset="0"/>
            </a:endParaRPr>
          </a:p>
          <a:p>
            <a:pPr marL="447675" lvl="2" indent="-285750">
              <a:buClr>
                <a:schemeClr val="accent1"/>
              </a:buClr>
              <a:buSzPct val="85000"/>
              <a:buFont typeface="Wingdings" pitchFamily="2" charset="2"/>
              <a:buChar char="§"/>
              <a:tabLst>
                <a:tab pos="203200" algn="l"/>
              </a:tabLst>
              <a:defRPr/>
            </a:pPr>
            <a:r>
              <a:rPr lang="en-US" sz="1800" dirty="0">
                <a:solidFill>
                  <a:schemeClr val="tx1"/>
                </a:solidFill>
                <a:cs typeface="Arial" charset="0"/>
              </a:rPr>
              <a:t>Recycling truck with vacuum pump needed</a:t>
            </a:r>
          </a:p>
          <a:p>
            <a:pPr marL="336550" lvl="2" indent="-174625">
              <a:lnSpc>
                <a:spcPct val="150000"/>
              </a:lnSpc>
              <a:buClr>
                <a:schemeClr val="accent1"/>
              </a:buClr>
              <a:buSzPct val="85000"/>
              <a:buFont typeface="Verdana" pitchFamily="34" charset="0"/>
              <a:buChar char="□"/>
              <a:tabLst>
                <a:tab pos="203200" algn="l"/>
              </a:tabLst>
              <a:defRPr/>
            </a:pPr>
            <a:endParaRPr lang="en-US" sz="18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390000" y="4635900"/>
            <a:ext cx="374025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Lipator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8716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utoUpdateAnimBg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8" name="Textfeld 28677"/>
          <p:cNvSpPr txBox="1"/>
          <p:nvPr/>
        </p:nvSpPr>
        <p:spPr>
          <a:xfrm>
            <a:off x="2802325" y="440138"/>
            <a:ext cx="6258548" cy="495530"/>
          </a:xfrm>
          <a:prstGeom prst="rect">
            <a:avLst/>
          </a:prstGeom>
          <a:noFill/>
        </p:spPr>
        <p:txBody>
          <a:bodyPr wrap="square" lIns="64017" tIns="32009" rIns="64017" bIns="32009" rtlCol="0">
            <a:spAutoFit/>
          </a:bodyPr>
          <a:lstStyle/>
          <a:p>
            <a:r>
              <a:rPr lang="de-DE" sz="2800" b="1" dirty="0" smtClean="0">
                <a:latin typeface="+mn-lt"/>
              </a:rPr>
              <a:t>Field of Activity</a:t>
            </a:r>
            <a:endParaRPr lang="de-DE" sz="2800" b="1" dirty="0">
              <a:latin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400" y="1309500"/>
            <a:ext cx="8886825" cy="6162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16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3"/>
          <p:cNvSpPr>
            <a:spLocks noChangeArrowheads="1"/>
          </p:cNvSpPr>
          <p:nvPr/>
        </p:nvSpPr>
        <p:spPr bwMode="auto">
          <a:xfrm>
            <a:off x="3873500" y="228600"/>
            <a:ext cx="6513513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en-GB" altLang="de-DE" sz="2000" b="1">
                <a:solidFill>
                  <a:schemeClr val="tx1"/>
                </a:solidFill>
              </a:rPr>
              <a:t>Grease Separators according to EN 1825:</a:t>
            </a:r>
            <a:br>
              <a:rPr lang="en-GB" altLang="de-DE" sz="2000" b="1">
                <a:solidFill>
                  <a:schemeClr val="tx1"/>
                </a:solidFill>
              </a:rPr>
            </a:br>
            <a:r>
              <a:rPr lang="en-GB" altLang="de-DE" sz="2000" b="1">
                <a:solidFill>
                  <a:schemeClr val="tx1"/>
                </a:solidFill>
              </a:rPr>
              <a:t>Operation/Complete Disposal</a:t>
            </a:r>
          </a:p>
        </p:txBody>
      </p:sp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2336800" y="1525588"/>
            <a:ext cx="4343400" cy="16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252000" bIns="0"/>
          <a:lstStyle>
            <a:lvl1pPr marL="342900" indent="-3429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1588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lvl="1" eaLnBrk="1" hangingPunct="1">
              <a:lnSpc>
                <a:spcPts val="2200"/>
              </a:lnSpc>
              <a:buClr>
                <a:schemeClr val="tx1"/>
              </a:buClr>
              <a:buSzPct val="90000"/>
              <a:buFont typeface="StoneSans-Bold"/>
              <a:buNone/>
            </a:pPr>
            <a:endParaRPr lang="de-DE" altLang="de-DE" sz="1600" b="1"/>
          </a:p>
        </p:txBody>
      </p:sp>
      <p:sp>
        <p:nvSpPr>
          <p:cNvPr id="3" name="Textfeld 2"/>
          <p:cNvSpPr txBox="1"/>
          <p:nvPr/>
        </p:nvSpPr>
        <p:spPr>
          <a:xfrm>
            <a:off x="279399" y="3302794"/>
            <a:ext cx="4968875" cy="221615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800" dirty="0">
                <a:cs typeface="Arial" charset="0"/>
              </a:rPr>
              <a:t>Correct sized grease separators have to be emptied and cleaned </a:t>
            </a:r>
            <a:r>
              <a:rPr lang="en-US" sz="1800" b="1" u="sng" dirty="0">
                <a:cs typeface="Arial" charset="0"/>
              </a:rPr>
              <a:t>at least every four weeks</a:t>
            </a:r>
          </a:p>
          <a:p>
            <a:pPr>
              <a:defRPr/>
            </a:pPr>
            <a:endParaRPr lang="en-US" sz="1800" b="1" dirty="0">
              <a:cs typeface="Arial" charset="0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800" dirty="0">
                <a:cs typeface="Arial" charset="0"/>
              </a:rPr>
              <a:t>In accordance with local codes, the appliance of </a:t>
            </a:r>
            <a:r>
              <a:rPr lang="en-US" sz="1800" b="1" u="sng" dirty="0">
                <a:cs typeface="Arial" charset="0"/>
              </a:rPr>
              <a:t>grease level sensors </a:t>
            </a:r>
            <a:r>
              <a:rPr lang="en-US" sz="1800" dirty="0">
                <a:cs typeface="Arial" charset="0"/>
              </a:rPr>
              <a:t>may be allowed to enable “</a:t>
            </a:r>
            <a:r>
              <a:rPr lang="en-US" sz="1800" b="1" u="sng" dirty="0">
                <a:cs typeface="Arial" charset="0"/>
              </a:rPr>
              <a:t>disposal on requirement”</a:t>
            </a:r>
            <a:endParaRPr lang="de-DE" sz="1800" b="1" u="sng" dirty="0"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6087" y="2157228"/>
            <a:ext cx="3160277" cy="4507281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utoUpdateAnimBg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32771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32772" name="Text Box 4"/>
          <p:cNvSpPr txBox="1">
            <a:spLocks noChangeArrowheads="1"/>
          </p:cNvSpPr>
          <p:nvPr/>
        </p:nvSpPr>
        <p:spPr bwMode="auto">
          <a:xfrm>
            <a:off x="1386681" y="2954415"/>
            <a:ext cx="7894638" cy="1634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altLang="de-DE" sz="3600" b="1" dirty="0">
                <a:solidFill>
                  <a:schemeClr val="bg1"/>
                </a:solidFill>
              </a:rPr>
              <a:t>Product Range: </a:t>
            </a:r>
            <a:br>
              <a:rPr lang="de-DE" altLang="de-DE" sz="3600" b="1" dirty="0">
                <a:solidFill>
                  <a:schemeClr val="bg1"/>
                </a:solidFill>
              </a:rPr>
            </a:br>
            <a:r>
              <a:rPr lang="de-DE" altLang="de-DE" sz="3600" b="1" dirty="0">
                <a:solidFill>
                  <a:schemeClr val="bg1"/>
                </a:solidFill>
              </a:rPr>
              <a:t>Full Disposal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36867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36868" name="Text Box 4"/>
          <p:cNvSpPr txBox="1">
            <a:spLocks noChangeArrowheads="1"/>
          </p:cNvSpPr>
          <p:nvPr/>
        </p:nvSpPr>
        <p:spPr bwMode="auto">
          <a:xfrm>
            <a:off x="1386681" y="2980819"/>
            <a:ext cx="7894638" cy="158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altLang="de-DE" sz="3600" b="1" dirty="0">
                <a:solidFill>
                  <a:schemeClr val="bg1"/>
                </a:solidFill>
              </a:rPr>
              <a:t>Above </a:t>
            </a:r>
            <a:r>
              <a:rPr lang="de-DE" altLang="de-DE" sz="3600" b="1" dirty="0" smtClean="0">
                <a:solidFill>
                  <a:schemeClr val="bg1"/>
                </a:solidFill>
              </a:rPr>
              <a:t>Ground Installation (Indoor Installation)</a:t>
            </a:r>
            <a:endParaRPr lang="de-DE" altLang="de-DE" sz="3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7048500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altLang="de-DE" dirty="0" smtClean="0"/>
              <a:t>Above Ground (Indoor) Installation: Exampl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4800" y="2346300"/>
            <a:ext cx="6718136" cy="453168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5" name="Rectangle 1027"/>
          <p:cNvSpPr txBox="1">
            <a:spLocks noChangeArrowheads="1"/>
          </p:cNvSpPr>
          <p:nvPr/>
        </p:nvSpPr>
        <p:spPr bwMode="auto">
          <a:xfrm>
            <a:off x="365761" y="1957500"/>
            <a:ext cx="9610089" cy="108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9pPr>
          </a:lstStyle>
          <a:p>
            <a:pPr>
              <a:buClr>
                <a:schemeClr val="accent1"/>
              </a:buClr>
              <a:buFontTx/>
              <a:buChar char="•"/>
              <a:defRPr/>
            </a:pPr>
            <a:r>
              <a:rPr lang="en-US" sz="1800" dirty="0" smtClean="0"/>
              <a:t>Bodies available in four </a:t>
            </a:r>
            <a:r>
              <a:rPr lang="en-US" sz="1800" b="1" dirty="0" smtClean="0"/>
              <a:t>different comfort stages</a:t>
            </a:r>
          </a:p>
          <a:p>
            <a:pPr marL="0" indent="0">
              <a:buClr>
                <a:schemeClr val="accent1"/>
              </a:buClr>
              <a:defRPr/>
            </a:pPr>
            <a:endParaRPr lang="en-US" sz="1800" dirty="0" smtClean="0"/>
          </a:p>
          <a:p>
            <a:pPr>
              <a:buClr>
                <a:schemeClr val="accent1"/>
              </a:buClr>
              <a:buFontTx/>
              <a:buChar char="•"/>
              <a:defRPr/>
            </a:pPr>
            <a:r>
              <a:rPr lang="en-US" sz="1800" dirty="0"/>
              <a:t>S</a:t>
            </a:r>
            <a:r>
              <a:rPr lang="en-US" sz="1800" dirty="0" smtClean="0"/>
              <a:t>eparators with </a:t>
            </a:r>
            <a:r>
              <a:rPr lang="en-US" sz="1800" b="1" dirty="0" smtClean="0"/>
              <a:t>structural stability </a:t>
            </a:r>
            <a:r>
              <a:rPr lang="en-US" sz="1800" dirty="0" smtClean="0"/>
              <a:t>guaranteed for </a:t>
            </a:r>
            <a:r>
              <a:rPr lang="en-US" sz="1800" u="sng" dirty="0" smtClean="0"/>
              <a:t>25 years</a:t>
            </a:r>
          </a:p>
        </p:txBody>
      </p:sp>
      <p:sp>
        <p:nvSpPr>
          <p:cNvPr id="38919" name="Rectangle 1027"/>
          <p:cNvSpPr txBox="1">
            <a:spLocks noChangeArrowheads="1"/>
          </p:cNvSpPr>
          <p:nvPr/>
        </p:nvSpPr>
        <p:spPr bwMode="auto">
          <a:xfrm>
            <a:off x="366713" y="6926263"/>
            <a:ext cx="18573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altLang="de-DE" sz="1400" dirty="0"/>
              <a:t>Welded </a:t>
            </a:r>
            <a:r>
              <a:rPr lang="en-US" altLang="de-DE" sz="1400" dirty="0" smtClean="0"/>
              <a:t>Polyethylene</a:t>
            </a:r>
            <a:endParaRPr lang="en-US" altLang="de-DE" sz="1400" dirty="0"/>
          </a:p>
        </p:txBody>
      </p:sp>
      <p:sp>
        <p:nvSpPr>
          <p:cNvPr id="38920" name="Rectangle 1027"/>
          <p:cNvSpPr txBox="1">
            <a:spLocks noChangeArrowheads="1"/>
          </p:cNvSpPr>
          <p:nvPr/>
        </p:nvSpPr>
        <p:spPr bwMode="auto">
          <a:xfrm>
            <a:off x="3044825" y="6926263"/>
            <a:ext cx="18573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>
              <a:buClr>
                <a:schemeClr val="accent1"/>
              </a:buClr>
            </a:pPr>
            <a:r>
              <a:rPr lang="en-US" altLang="de-DE" sz="1400" dirty="0"/>
              <a:t>Stainless </a:t>
            </a:r>
            <a:r>
              <a:rPr lang="en-US" altLang="de-DE" sz="1400" dirty="0" smtClean="0"/>
              <a:t>Steel</a:t>
            </a:r>
            <a:endParaRPr lang="en-US" altLang="de-DE" sz="1400" dirty="0"/>
          </a:p>
        </p:txBody>
      </p:sp>
      <p:sp>
        <p:nvSpPr>
          <p:cNvPr id="38921" name="Rectangle 1027"/>
          <p:cNvSpPr txBox="1">
            <a:spLocks noChangeArrowheads="1"/>
          </p:cNvSpPr>
          <p:nvPr/>
        </p:nvSpPr>
        <p:spPr bwMode="auto">
          <a:xfrm>
            <a:off x="5549900" y="6926263"/>
            <a:ext cx="185737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>
              <a:buClr>
                <a:schemeClr val="accent1"/>
              </a:buClr>
            </a:pPr>
            <a:r>
              <a:rPr lang="en-US" altLang="de-DE" sz="1400" dirty="0"/>
              <a:t>Stainless </a:t>
            </a:r>
            <a:r>
              <a:rPr lang="en-US" altLang="de-DE" sz="1400" dirty="0" smtClean="0"/>
              <a:t>Steel</a:t>
            </a:r>
            <a:endParaRPr lang="en-US" altLang="de-DE" sz="1400" dirty="0"/>
          </a:p>
        </p:txBody>
      </p:sp>
      <p:sp>
        <p:nvSpPr>
          <p:cNvPr id="38922" name="Rectangle 1027"/>
          <p:cNvSpPr txBox="1">
            <a:spLocks noChangeArrowheads="1"/>
          </p:cNvSpPr>
          <p:nvPr/>
        </p:nvSpPr>
        <p:spPr bwMode="auto">
          <a:xfrm>
            <a:off x="8012113" y="6926263"/>
            <a:ext cx="2462212" cy="344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altLang="de-DE" sz="1400" dirty="0" err="1"/>
              <a:t>Rotomoulded</a:t>
            </a:r>
            <a:r>
              <a:rPr lang="en-US" altLang="de-DE" sz="1400" dirty="0"/>
              <a:t> </a:t>
            </a:r>
            <a:r>
              <a:rPr lang="en-US" altLang="de-DE" sz="1400" dirty="0" smtClean="0"/>
              <a:t>Polyethylene</a:t>
            </a:r>
            <a:endParaRPr lang="en-US" altLang="de-DE" sz="1400" dirty="0"/>
          </a:p>
        </p:txBody>
      </p:sp>
      <p:sp>
        <p:nvSpPr>
          <p:cNvPr id="38923" name="Rectangle 2"/>
          <p:cNvSpPr txBox="1">
            <a:spLocks noChangeArrowheads="1"/>
          </p:cNvSpPr>
          <p:nvPr/>
        </p:nvSpPr>
        <p:spPr bwMode="auto">
          <a:xfrm>
            <a:off x="2562225" y="230188"/>
            <a:ext cx="8105775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8" tIns="45698" rIns="91398" bIns="45698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de-DE" altLang="de-DE" sz="2000" b="1" dirty="0" smtClean="0">
                <a:solidFill>
                  <a:schemeClr val="tx1"/>
                </a:solidFill>
              </a:rPr>
              <a:t>Features </a:t>
            </a:r>
            <a:r>
              <a:rPr lang="de-DE" altLang="de-DE" sz="2000" b="1" dirty="0">
                <a:solidFill>
                  <a:schemeClr val="tx1"/>
                </a:solidFill>
              </a:rPr>
              <a:t>and </a:t>
            </a:r>
            <a:r>
              <a:rPr lang="de-DE" altLang="de-DE" sz="2000" b="1" dirty="0" smtClean="0">
                <a:solidFill>
                  <a:schemeClr val="tx1"/>
                </a:solidFill>
              </a:rPr>
              <a:t>Advantages</a:t>
            </a:r>
            <a:endParaRPr lang="de-DE" altLang="de-DE" sz="2000" b="1" dirty="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425" y="3974449"/>
            <a:ext cx="10248900" cy="273367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33795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33796" name="Text Box 4"/>
          <p:cNvSpPr txBox="1">
            <a:spLocks noChangeArrowheads="1"/>
          </p:cNvSpPr>
          <p:nvPr/>
        </p:nvSpPr>
        <p:spPr bwMode="auto">
          <a:xfrm>
            <a:off x="1618800" y="2361406"/>
            <a:ext cx="7894638" cy="2820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altLang="de-DE" sz="4000" b="1" dirty="0">
                <a:solidFill>
                  <a:schemeClr val="bg1"/>
                </a:solidFill>
              </a:rPr>
              <a:t>Below </a:t>
            </a:r>
            <a:r>
              <a:rPr lang="de-DE" altLang="de-DE" sz="4000" b="1" dirty="0" smtClean="0">
                <a:solidFill>
                  <a:schemeClr val="bg1"/>
                </a:solidFill>
              </a:rPr>
              <a:t>Ground Installation</a:t>
            </a:r>
            <a:endParaRPr lang="de-DE" altLang="de-DE" sz="4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2344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7048500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altLang="de-DE" dirty="0" smtClean="0"/>
              <a:t>Below Ground Installation: Exampl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1600" y="1784700"/>
            <a:ext cx="6966812" cy="52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70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1027"/>
          <p:cNvSpPr txBox="1">
            <a:spLocks noChangeArrowheads="1"/>
          </p:cNvSpPr>
          <p:nvPr/>
        </p:nvSpPr>
        <p:spPr bwMode="auto">
          <a:xfrm>
            <a:off x="604838" y="3296487"/>
            <a:ext cx="6327775" cy="159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marL="0" indent="0">
              <a:buClr>
                <a:schemeClr val="accent1"/>
              </a:buClr>
            </a:pPr>
            <a:endParaRPr lang="en-US" altLang="de-DE" sz="1800" dirty="0"/>
          </a:p>
          <a:p>
            <a:pPr>
              <a:buClr>
                <a:schemeClr val="accent1"/>
              </a:buClr>
              <a:buFontTx/>
              <a:buChar char="•"/>
            </a:pPr>
            <a:r>
              <a:rPr lang="en-US" altLang="de-DE" sz="1800" dirty="0"/>
              <a:t>Body available in </a:t>
            </a:r>
            <a:r>
              <a:rPr lang="en-US" altLang="de-DE" sz="1800" b="1" u="sng" dirty="0"/>
              <a:t>four different comfort stages</a:t>
            </a:r>
          </a:p>
          <a:p>
            <a:pPr>
              <a:buClr>
                <a:schemeClr val="accent1"/>
              </a:buClr>
              <a:buFontTx/>
              <a:buChar char="•"/>
            </a:pPr>
            <a:endParaRPr lang="en-US" altLang="de-DE" sz="1800" dirty="0"/>
          </a:p>
          <a:p>
            <a:pPr>
              <a:buClr>
                <a:schemeClr val="accent1"/>
              </a:buClr>
              <a:buFontTx/>
              <a:buChar char="•"/>
            </a:pPr>
            <a:r>
              <a:rPr lang="en-US" altLang="de-DE" sz="1800" b="1" dirty="0" smtClean="0"/>
              <a:t>Structural </a:t>
            </a:r>
            <a:r>
              <a:rPr lang="en-US" altLang="de-DE" sz="1800" b="1" dirty="0"/>
              <a:t>stability </a:t>
            </a:r>
            <a:r>
              <a:rPr lang="en-US" altLang="de-DE" sz="1800" dirty="0"/>
              <a:t>guaranteed for </a:t>
            </a:r>
            <a:r>
              <a:rPr lang="en-US" altLang="de-DE" sz="1800" u="sng" dirty="0"/>
              <a:t>50 years</a:t>
            </a:r>
          </a:p>
          <a:p>
            <a:pPr marL="0" indent="0">
              <a:buClr>
                <a:schemeClr val="accent1"/>
              </a:buClr>
            </a:pPr>
            <a:endParaRPr lang="en-US" altLang="de-DE" sz="1800" dirty="0"/>
          </a:p>
        </p:txBody>
      </p:sp>
      <p:sp>
        <p:nvSpPr>
          <p:cNvPr id="35844" name="Rectangle 2"/>
          <p:cNvSpPr txBox="1">
            <a:spLocks noChangeArrowheads="1"/>
          </p:cNvSpPr>
          <p:nvPr/>
        </p:nvSpPr>
        <p:spPr bwMode="auto">
          <a:xfrm>
            <a:off x="2562225" y="230188"/>
            <a:ext cx="8105775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8" tIns="45698" rIns="91398" bIns="45698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de-DE" altLang="de-DE" sz="2000" b="1" dirty="0" smtClean="0">
                <a:solidFill>
                  <a:schemeClr val="tx1"/>
                </a:solidFill>
              </a:rPr>
              <a:t>Features </a:t>
            </a:r>
            <a:r>
              <a:rPr lang="de-DE" altLang="de-DE" sz="2000" b="1" dirty="0">
                <a:solidFill>
                  <a:schemeClr val="tx1"/>
                </a:solidFill>
              </a:rPr>
              <a:t>and </a:t>
            </a:r>
            <a:r>
              <a:rPr lang="de-DE" altLang="de-DE" sz="2000" b="1" dirty="0" smtClean="0">
                <a:solidFill>
                  <a:schemeClr val="tx1"/>
                </a:solidFill>
              </a:rPr>
              <a:t>Advantages</a:t>
            </a:r>
            <a:endParaRPr lang="de-DE" altLang="de-DE" sz="2000" b="1" dirty="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2800" y="1914300"/>
            <a:ext cx="3286125" cy="498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78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2591688" y="157163"/>
            <a:ext cx="6716712" cy="776288"/>
          </a:xfrm>
        </p:spPr>
        <p:txBody>
          <a:bodyPr/>
          <a:lstStyle/>
          <a:p>
            <a:pPr eaLnBrk="1" hangingPunct="1"/>
            <a:r>
              <a:rPr lang="de-DE" smtClean="0"/>
              <a:t>Complete Disposal (Outdoor)</a:t>
            </a:r>
            <a:endParaRPr lang="de-DE" dirty="0" smtClean="0"/>
          </a:p>
        </p:txBody>
      </p:sp>
      <p:sp>
        <p:nvSpPr>
          <p:cNvPr id="17" name="Textfeld 16"/>
          <p:cNvSpPr txBox="1"/>
          <p:nvPr/>
        </p:nvSpPr>
        <p:spPr bwMode="auto">
          <a:xfrm>
            <a:off x="378001" y="1870889"/>
            <a:ext cx="5990650" cy="36668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104059" tIns="52029" rIns="104059" bIns="52029">
            <a:spAutoFit/>
          </a:bodyPr>
          <a:lstStyle/>
          <a:p>
            <a:pPr algn="ctr">
              <a:defRPr/>
            </a:pPr>
            <a:r>
              <a:rPr lang="de-DE" sz="1700" b="1" dirty="0"/>
              <a:t>Ground </a:t>
            </a:r>
            <a:r>
              <a:rPr lang="de-DE" sz="1700" b="1" dirty="0" smtClean="0"/>
              <a:t>Installation</a:t>
            </a:r>
            <a:endParaRPr lang="de-DE" sz="1700" b="1" dirty="0"/>
          </a:p>
        </p:txBody>
      </p:sp>
      <p:sp>
        <p:nvSpPr>
          <p:cNvPr id="21" name="Textfeld 20"/>
          <p:cNvSpPr txBox="1"/>
          <p:nvPr/>
        </p:nvSpPr>
        <p:spPr bwMode="auto">
          <a:xfrm>
            <a:off x="377450" y="5284852"/>
            <a:ext cx="5990650" cy="88990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104059" tIns="52029" rIns="104059" bIns="52029" anchor="ctr">
            <a:spAutoFit/>
          </a:bodyPr>
          <a:lstStyle/>
          <a:p>
            <a:pPr algn="ctr">
              <a:defRPr/>
            </a:pPr>
            <a:r>
              <a:rPr lang="de-DE" sz="1700" b="1" dirty="0" smtClean="0"/>
              <a:t>Material</a:t>
            </a:r>
            <a:r>
              <a:rPr lang="de-DE" sz="1700" b="1" dirty="0"/>
              <a:t>: </a:t>
            </a:r>
            <a:r>
              <a:rPr lang="de-DE" sz="1700" b="1" dirty="0" err="1" smtClean="0"/>
              <a:t>polyethylene</a:t>
            </a:r>
            <a:endParaRPr lang="de-DE" sz="1700" b="1" dirty="0"/>
          </a:p>
          <a:p>
            <a:pPr algn="ctr">
              <a:defRPr/>
            </a:pPr>
            <a:r>
              <a:rPr lang="de-DE" sz="1700" b="1" dirty="0"/>
              <a:t>Nominal </a:t>
            </a:r>
            <a:r>
              <a:rPr lang="de-DE" sz="1700" b="1" dirty="0" err="1"/>
              <a:t>sizes</a:t>
            </a:r>
            <a:r>
              <a:rPr lang="de-DE" sz="1700" b="1" dirty="0"/>
              <a:t>: 1-10</a:t>
            </a:r>
          </a:p>
          <a:p>
            <a:pPr algn="ctr">
              <a:defRPr/>
            </a:pPr>
            <a:endParaRPr lang="de-DE" sz="1700" b="1" dirty="0"/>
          </a:p>
        </p:txBody>
      </p:sp>
      <p:sp>
        <p:nvSpPr>
          <p:cNvPr id="22" name="Textfeld 21"/>
          <p:cNvSpPr txBox="1"/>
          <p:nvPr/>
        </p:nvSpPr>
        <p:spPr bwMode="auto">
          <a:xfrm>
            <a:off x="377448" y="6359293"/>
            <a:ext cx="5989200" cy="36668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4059" tIns="52029" rIns="104059" bIns="52029">
            <a:spAutoFit/>
          </a:bodyPr>
          <a:lstStyle/>
          <a:p>
            <a:pPr algn="ctr">
              <a:defRPr/>
            </a:pPr>
            <a:r>
              <a:rPr lang="de-DE" sz="1700" b="1" dirty="0"/>
              <a:t>4 </a:t>
            </a:r>
            <a:r>
              <a:rPr lang="de-DE" sz="1700" b="1" dirty="0" err="1"/>
              <a:t>Comfort</a:t>
            </a:r>
            <a:r>
              <a:rPr lang="de-DE" sz="1700" b="1" dirty="0"/>
              <a:t> </a:t>
            </a:r>
            <a:r>
              <a:rPr lang="de-DE" sz="1700" b="1" dirty="0" err="1"/>
              <a:t>stages</a:t>
            </a:r>
            <a:endParaRPr lang="de-DE" sz="1700" b="1" dirty="0"/>
          </a:p>
        </p:txBody>
      </p:sp>
      <p:pic>
        <p:nvPicPr>
          <p:cNvPr id="18" name="Picture 4" descr="ACO-Lipumax-P-B-KL-B-EBV-SCHNITT-V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94142" y="1869120"/>
            <a:ext cx="1165308" cy="11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292100" dist="139700" dir="2700000" algn="tl" rotWithShape="0">
              <a:prstClr val="black">
                <a:alpha val="65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ACO-Lipumax-P-D-KL-B-EBV-SCHNITT-V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94141" y="3118553"/>
            <a:ext cx="1165309" cy="11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292100" dist="139700" dir="2700000" algn="tl" rotWithShape="0">
              <a:prstClr val="black">
                <a:alpha val="65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5" descr="ACO-Lipumax-P-DM-KL-B-EBV-SCHNITT-V4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99613" y="4326362"/>
            <a:ext cx="1166010" cy="1128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99708" y="5574026"/>
            <a:ext cx="1165924" cy="1128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7938290" y="1869120"/>
            <a:ext cx="2352261" cy="11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indent="0" eaLnBrk="1" hangingPunct="1"/>
            <a:r>
              <a:rPr lang="de-DE" b="1" kern="0" dirty="0" err="1" smtClean="0"/>
              <a:t>Lipumax</a:t>
            </a:r>
            <a:r>
              <a:rPr lang="de-DE" b="1" kern="0" dirty="0" smtClean="0"/>
              <a:t> P-B:</a:t>
            </a:r>
          </a:p>
          <a:p>
            <a:pPr marL="0" indent="0" eaLnBrk="1" hangingPunct="1"/>
            <a:r>
              <a:rPr lang="de-DE" kern="0" dirty="0" smtClean="0"/>
              <a:t>The </a:t>
            </a:r>
            <a:r>
              <a:rPr lang="de-DE" kern="0" dirty="0" err="1" smtClean="0"/>
              <a:t>basic</a:t>
            </a:r>
            <a:r>
              <a:rPr lang="de-DE" kern="0" dirty="0" smtClean="0"/>
              <a:t> </a:t>
            </a:r>
            <a:r>
              <a:rPr lang="de-DE" kern="0" dirty="0" err="1" smtClean="0"/>
              <a:t>version</a:t>
            </a:r>
            <a:endParaRPr lang="de-DE" kern="0" dirty="0" smtClean="0"/>
          </a:p>
        </p:txBody>
      </p:sp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7938290" y="3118553"/>
            <a:ext cx="2530061" cy="11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indent="0" eaLnBrk="1" hangingPunct="1"/>
            <a:r>
              <a:rPr lang="de-DE" b="1" kern="0" dirty="0" err="1" smtClean="0"/>
              <a:t>Lipumax</a:t>
            </a:r>
            <a:r>
              <a:rPr lang="de-DE" b="1" kern="0" dirty="0" smtClean="0"/>
              <a:t> P-D:</a:t>
            </a:r>
          </a:p>
          <a:p>
            <a:pPr marL="0" indent="0" eaLnBrk="1" hangingPunct="1"/>
            <a:r>
              <a:rPr lang="de-DE" kern="0" dirty="0" err="1" smtClean="0">
                <a:solidFill>
                  <a:srgbClr val="FF0000"/>
                </a:solidFill>
              </a:rPr>
              <a:t>Direct</a:t>
            </a:r>
            <a:r>
              <a:rPr lang="de-DE" kern="0" dirty="0" smtClean="0">
                <a:solidFill>
                  <a:srgbClr val="FF0000"/>
                </a:solidFill>
              </a:rPr>
              <a:t> </a:t>
            </a:r>
            <a:r>
              <a:rPr lang="de-DE" kern="0" dirty="0" err="1" smtClean="0">
                <a:solidFill>
                  <a:srgbClr val="FF0000"/>
                </a:solidFill>
              </a:rPr>
              <a:t>suction</a:t>
            </a:r>
            <a:endParaRPr lang="de-DE" kern="0" dirty="0" smtClean="0">
              <a:solidFill>
                <a:srgbClr val="FF0000"/>
              </a:solidFill>
            </a:endParaRPr>
          </a:p>
        </p:txBody>
      </p:sp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7938289" y="4326362"/>
            <a:ext cx="2446052" cy="11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indent="0" eaLnBrk="1" hangingPunct="1"/>
            <a:r>
              <a:rPr lang="de-DE" b="1" kern="0" dirty="0" err="1" smtClean="0"/>
              <a:t>Lipumax</a:t>
            </a:r>
            <a:r>
              <a:rPr lang="de-DE" b="1" kern="0" dirty="0" smtClean="0"/>
              <a:t> P-DM:</a:t>
            </a:r>
          </a:p>
          <a:p>
            <a:pPr marL="0" indent="0" eaLnBrk="1" hangingPunct="1"/>
            <a:r>
              <a:rPr lang="de-DE" kern="0" dirty="0" smtClean="0">
                <a:solidFill>
                  <a:srgbClr val="FF0000"/>
                </a:solidFill>
              </a:rPr>
              <a:t>Manual</a:t>
            </a:r>
            <a:r>
              <a:rPr lang="de-DE" kern="0" dirty="0" smtClean="0"/>
              <a:t> high-</a:t>
            </a:r>
            <a:r>
              <a:rPr lang="de-DE" kern="0" dirty="0" err="1" smtClean="0"/>
              <a:t>pressure</a:t>
            </a:r>
            <a:r>
              <a:rPr lang="de-DE" kern="0" dirty="0" smtClean="0"/>
              <a:t> </a:t>
            </a:r>
            <a:r>
              <a:rPr lang="de-DE" kern="0" dirty="0" err="1" smtClean="0"/>
              <a:t>cleaning</a:t>
            </a:r>
            <a:endParaRPr lang="de-DE" kern="0" dirty="0" smtClean="0"/>
          </a:p>
        </p:txBody>
      </p:sp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7938290" y="5574026"/>
            <a:ext cx="2530061" cy="11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indent="0" eaLnBrk="1" hangingPunct="1"/>
            <a:r>
              <a:rPr lang="de-DE" b="1" kern="0" dirty="0" err="1" smtClean="0"/>
              <a:t>Lipumax</a:t>
            </a:r>
            <a:r>
              <a:rPr lang="de-DE" b="1" kern="0" dirty="0" smtClean="0"/>
              <a:t> P-DA:</a:t>
            </a:r>
          </a:p>
          <a:p>
            <a:pPr marL="0" indent="0" eaLnBrk="1" hangingPunct="1"/>
            <a:r>
              <a:rPr lang="de-DE" kern="0" dirty="0" err="1" smtClean="0">
                <a:solidFill>
                  <a:srgbClr val="FF0000"/>
                </a:solidFill>
              </a:rPr>
              <a:t>Automaded</a:t>
            </a:r>
            <a:r>
              <a:rPr lang="de-DE" kern="0" dirty="0" smtClean="0">
                <a:solidFill>
                  <a:srgbClr val="FF0000"/>
                </a:solidFill>
              </a:rPr>
              <a:t> </a:t>
            </a:r>
            <a:r>
              <a:rPr lang="de-DE" kern="0" dirty="0" smtClean="0"/>
              <a:t>high-</a:t>
            </a:r>
            <a:r>
              <a:rPr lang="de-DE" kern="0" dirty="0" err="1" smtClean="0"/>
              <a:t>pressure</a:t>
            </a:r>
            <a:r>
              <a:rPr lang="de-DE" kern="0" dirty="0" smtClean="0"/>
              <a:t> </a:t>
            </a:r>
            <a:r>
              <a:rPr lang="de-DE" kern="0" dirty="0" err="1" smtClean="0"/>
              <a:t>cleaning</a:t>
            </a:r>
            <a:endParaRPr lang="de-DE" kern="0" dirty="0" smtClean="0"/>
          </a:p>
          <a:p>
            <a:pPr marL="0" indent="0" eaLnBrk="1" hangingPunct="1"/>
            <a:r>
              <a:rPr lang="de-DE" dirty="0" smtClean="0"/>
              <a:t> </a:t>
            </a:r>
            <a:endParaRPr lang="de-DE" kern="0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16400" y="2324618"/>
            <a:ext cx="3562350" cy="286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527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4" grpId="0"/>
      <p:bldP spid="15" grpId="0"/>
      <p:bldP spid="16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39939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endParaRPr lang="de-DE" altLang="de-DE"/>
          </a:p>
        </p:txBody>
      </p:sp>
      <p:sp>
        <p:nvSpPr>
          <p:cNvPr id="39940" name="Text Box 4"/>
          <p:cNvSpPr txBox="1">
            <a:spLocks noChangeArrowheads="1"/>
          </p:cNvSpPr>
          <p:nvPr/>
        </p:nvSpPr>
        <p:spPr bwMode="auto">
          <a:xfrm>
            <a:off x="452437" y="3088006"/>
            <a:ext cx="9763125" cy="1367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altLang="de-DE" sz="3600" b="1" dirty="0">
                <a:solidFill>
                  <a:schemeClr val="bg1"/>
                </a:solidFill>
              </a:rPr>
              <a:t>Systems </a:t>
            </a:r>
            <a:r>
              <a:rPr lang="de-DE" altLang="de-DE" sz="3600" b="1" dirty="0" err="1">
                <a:solidFill>
                  <a:schemeClr val="bg1"/>
                </a:solidFill>
              </a:rPr>
              <a:t>for</a:t>
            </a:r>
            <a:r>
              <a:rPr lang="de-DE" altLang="de-DE" sz="3600" b="1" dirty="0">
                <a:solidFill>
                  <a:schemeClr val="bg1"/>
                </a:solidFill>
              </a:rPr>
              <a:t> Partial </a:t>
            </a:r>
            <a:r>
              <a:rPr lang="de-DE" altLang="de-DE" sz="3600" b="1" dirty="0" err="1">
                <a:solidFill>
                  <a:schemeClr val="bg1"/>
                </a:solidFill>
              </a:rPr>
              <a:t>Disposal</a:t>
            </a:r>
            <a:endParaRPr lang="de-DE" altLang="de-DE" sz="3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5123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124" name="Text Box 4"/>
          <p:cNvSpPr txBox="1">
            <a:spLocks noChangeArrowheads="1"/>
          </p:cNvSpPr>
          <p:nvPr/>
        </p:nvSpPr>
        <p:spPr bwMode="auto">
          <a:xfrm>
            <a:off x="4033462" y="3253500"/>
            <a:ext cx="2601075" cy="86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altLang="de-DE" sz="3600" b="1" dirty="0">
                <a:solidFill>
                  <a:schemeClr val="bg1"/>
                </a:solidFill>
              </a:rPr>
              <a:t>Agenda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3"/>
          <p:cNvSpPr>
            <a:spLocks noChangeArrowheads="1"/>
          </p:cNvSpPr>
          <p:nvPr/>
        </p:nvSpPr>
        <p:spPr bwMode="auto">
          <a:xfrm>
            <a:off x="2867627" y="216900"/>
            <a:ext cx="6513513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en-GB" altLang="de-DE" sz="2000" b="1" dirty="0">
                <a:solidFill>
                  <a:schemeClr val="tx1"/>
                </a:solidFill>
              </a:rPr>
              <a:t>Grease Traps according to EN 1825:</a:t>
            </a:r>
            <a:br>
              <a:rPr lang="en-GB" altLang="de-DE" sz="2000" b="1" dirty="0">
                <a:solidFill>
                  <a:schemeClr val="tx1"/>
                </a:solidFill>
              </a:rPr>
            </a:br>
            <a:r>
              <a:rPr lang="en-GB" altLang="de-DE" sz="2000" b="1" dirty="0">
                <a:solidFill>
                  <a:schemeClr val="tx1"/>
                </a:solidFill>
              </a:rPr>
              <a:t>Operation/Partial Disposal</a:t>
            </a:r>
          </a:p>
        </p:txBody>
      </p:sp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2336800" y="1525588"/>
            <a:ext cx="4343400" cy="16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252000" bIns="0"/>
          <a:lstStyle>
            <a:lvl1pPr marL="342900" indent="-3429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1588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10541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10541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lvl="1" eaLnBrk="1" hangingPunct="1">
              <a:lnSpc>
                <a:spcPts val="2200"/>
              </a:lnSpc>
              <a:buClr>
                <a:schemeClr val="tx1"/>
              </a:buClr>
              <a:buSzPct val="90000"/>
              <a:buFont typeface="StoneSans-Bold"/>
              <a:buNone/>
            </a:pPr>
            <a:endParaRPr lang="de-DE" altLang="de-DE" sz="1600" b="1"/>
          </a:p>
        </p:txBody>
      </p:sp>
      <p:sp>
        <p:nvSpPr>
          <p:cNvPr id="24580" name="Rectangle 3"/>
          <p:cNvSpPr>
            <a:spLocks noChangeArrowheads="1"/>
          </p:cNvSpPr>
          <p:nvPr/>
        </p:nvSpPr>
        <p:spPr bwMode="auto">
          <a:xfrm>
            <a:off x="236538" y="1957388"/>
            <a:ext cx="10150475" cy="531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447675" lvl="2" indent="-285750">
              <a:buClr>
                <a:schemeClr val="accent1"/>
              </a:buClr>
              <a:buSzPct val="85000"/>
              <a:buFont typeface="Wingdings" pitchFamily="2" charset="2"/>
              <a:buChar char="§"/>
              <a:tabLst>
                <a:tab pos="203200" algn="l"/>
              </a:tabLst>
              <a:defRPr/>
            </a:pPr>
            <a:r>
              <a:rPr lang="en-US" sz="1800" dirty="0" smtClean="0">
                <a:solidFill>
                  <a:schemeClr val="tx1"/>
                </a:solidFill>
                <a:cs typeface="Arial" charset="0"/>
              </a:rPr>
              <a:t>Extraction </a:t>
            </a:r>
            <a:r>
              <a:rPr lang="en-US" sz="1800" dirty="0">
                <a:solidFill>
                  <a:schemeClr val="tx1"/>
                </a:solidFill>
                <a:cs typeface="Arial" charset="0"/>
              </a:rPr>
              <a:t>of grease and sludge in separate barrels</a:t>
            </a:r>
          </a:p>
          <a:p>
            <a:pPr marL="447675" lvl="2" indent="-285750">
              <a:buClr>
                <a:schemeClr val="accent1"/>
              </a:buClr>
              <a:buSzPct val="85000"/>
              <a:buFont typeface="Wingdings" pitchFamily="2" charset="2"/>
              <a:buChar char="§"/>
              <a:tabLst>
                <a:tab pos="203200" algn="l"/>
              </a:tabLst>
              <a:defRPr/>
            </a:pPr>
            <a:endParaRPr lang="en-US" sz="1800" dirty="0">
              <a:solidFill>
                <a:schemeClr val="tx1"/>
              </a:solidFill>
              <a:cs typeface="Arial" charset="0"/>
            </a:endParaRPr>
          </a:p>
          <a:p>
            <a:pPr marL="447675" lvl="2" indent="-285750">
              <a:buClr>
                <a:schemeClr val="accent1"/>
              </a:buClr>
              <a:buSzPct val="85000"/>
              <a:buFont typeface="Wingdings" pitchFamily="2" charset="2"/>
              <a:buChar char="§"/>
              <a:tabLst>
                <a:tab pos="203200" algn="l"/>
              </a:tabLst>
              <a:defRPr/>
            </a:pPr>
            <a:r>
              <a:rPr lang="en-US" sz="1800" dirty="0">
                <a:solidFill>
                  <a:schemeClr val="tx1"/>
                </a:solidFill>
                <a:cs typeface="Arial" charset="0"/>
              </a:rPr>
              <a:t>Filled barrels have to be replaced with empty ones; </a:t>
            </a:r>
            <a:r>
              <a:rPr lang="en-US" sz="1800" b="1" u="sng" dirty="0">
                <a:solidFill>
                  <a:schemeClr val="tx1"/>
                </a:solidFill>
                <a:cs typeface="Arial" charset="0"/>
              </a:rPr>
              <a:t>this may be necessary every 1 – 2 weeks </a:t>
            </a:r>
            <a:r>
              <a:rPr lang="en-US" sz="1800" dirty="0">
                <a:solidFill>
                  <a:schemeClr val="tx1"/>
                </a:solidFill>
                <a:cs typeface="Arial" charset="0"/>
              </a:rPr>
              <a:t>according to the fill </a:t>
            </a:r>
            <a:r>
              <a:rPr lang="en-US" sz="1800" dirty="0" smtClean="0">
                <a:solidFill>
                  <a:schemeClr val="tx1"/>
                </a:solidFill>
                <a:cs typeface="Arial" charset="0"/>
              </a:rPr>
              <a:t>levels and size of the separators</a:t>
            </a:r>
            <a:endParaRPr lang="en-US" sz="1600" b="1" dirty="0">
              <a:solidFill>
                <a:schemeClr val="tx1"/>
              </a:solidFill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55600" y="3469500"/>
            <a:ext cx="4895850" cy="40005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52227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2228" name="Text Box 4"/>
          <p:cNvSpPr txBox="1">
            <a:spLocks noChangeArrowheads="1"/>
          </p:cNvSpPr>
          <p:nvPr/>
        </p:nvSpPr>
        <p:spPr bwMode="auto">
          <a:xfrm>
            <a:off x="2197462" y="3340250"/>
            <a:ext cx="6273075" cy="86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altLang="de-DE" sz="3600" b="1" dirty="0">
                <a:solidFill>
                  <a:schemeClr val="bg1"/>
                </a:solidFill>
              </a:rPr>
              <a:t>Location of Production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7048500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altLang="de-DE" dirty="0" smtClean="0"/>
              <a:t>Location of Production </a:t>
            </a:r>
          </a:p>
        </p:txBody>
      </p:sp>
      <p:sp>
        <p:nvSpPr>
          <p:cNvPr id="53251" name="Rectangle 1027"/>
          <p:cNvSpPr txBox="1">
            <a:spLocks noChangeArrowheads="1"/>
          </p:cNvSpPr>
          <p:nvPr/>
        </p:nvSpPr>
        <p:spPr bwMode="auto">
          <a:xfrm>
            <a:off x="198094" y="4313638"/>
            <a:ext cx="4012706" cy="1465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>
              <a:buClr>
                <a:schemeClr val="accent1"/>
              </a:buClr>
            </a:pPr>
            <a:r>
              <a:rPr lang="en-US" altLang="de-DE" sz="1800" b="1" dirty="0" err="1" smtClean="0"/>
              <a:t>Rotomoulding</a:t>
            </a:r>
            <a:r>
              <a:rPr lang="en-US" altLang="de-DE" sz="1800" b="1" dirty="0" smtClean="0"/>
              <a:t> System:</a:t>
            </a:r>
          </a:p>
          <a:p>
            <a:pPr algn="ctr">
              <a:buClr>
                <a:schemeClr val="accent1"/>
              </a:buClr>
            </a:pPr>
            <a:endParaRPr lang="en-US" altLang="de-DE" sz="1800" b="1" dirty="0" smtClean="0"/>
          </a:p>
          <a:p>
            <a:pPr marL="342900" indent="-342900" algn="ctr">
              <a:buClr>
                <a:schemeClr val="accent1"/>
              </a:buClr>
              <a:buAutoNum type="arabicPeriod"/>
            </a:pPr>
            <a:r>
              <a:rPr lang="en-US" altLang="de-DE" sz="1800" dirty="0" smtClean="0"/>
              <a:t>step: heating</a:t>
            </a:r>
            <a:endParaRPr lang="en-US" altLang="de-DE" sz="1800" dirty="0"/>
          </a:p>
          <a:p>
            <a:pPr marL="342900" indent="-342900" algn="ctr">
              <a:buClr>
                <a:schemeClr val="accent1"/>
              </a:buClr>
              <a:buAutoNum type="arabicPeriod"/>
            </a:pPr>
            <a:r>
              <a:rPr lang="en-US" altLang="de-DE" sz="1800" dirty="0" smtClean="0"/>
              <a:t>step</a:t>
            </a:r>
            <a:r>
              <a:rPr lang="en-US" altLang="de-DE" sz="1800" dirty="0"/>
              <a:t>: cooling  </a:t>
            </a:r>
          </a:p>
          <a:p>
            <a:pPr marL="285750" indent="-285750" algn="ctr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altLang="de-DE" sz="1800" dirty="0" smtClean="0"/>
          </a:p>
        </p:txBody>
      </p:sp>
      <p:sp>
        <p:nvSpPr>
          <p:cNvPr id="53254" name="Rectangle 1027"/>
          <p:cNvSpPr txBox="1">
            <a:spLocks noChangeArrowheads="1"/>
          </p:cNvSpPr>
          <p:nvPr/>
        </p:nvSpPr>
        <p:spPr bwMode="auto">
          <a:xfrm>
            <a:off x="198094" y="1395900"/>
            <a:ext cx="518477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altLang="de-DE" sz="1800" b="1" dirty="0"/>
              <a:t>Production in </a:t>
            </a:r>
            <a:r>
              <a:rPr lang="en-US" altLang="de-DE" sz="1800" b="1" u="sng" dirty="0" err="1"/>
              <a:t>Stadtlengsfeld</a:t>
            </a:r>
            <a:r>
              <a:rPr lang="en-US" altLang="de-DE" sz="1800" b="1" dirty="0"/>
              <a:t>, Germany: </a:t>
            </a:r>
          </a:p>
          <a:p>
            <a:pPr>
              <a:buClr>
                <a:schemeClr val="accent1"/>
              </a:buClr>
            </a:pPr>
            <a:r>
              <a:rPr lang="en-US" altLang="de-DE" sz="1800" b="1" dirty="0"/>
              <a:t>grease separators from polyethylen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9516" y="2475900"/>
            <a:ext cx="4610100" cy="44386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7048500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altLang="de-DE" smtClean="0"/>
              <a:t>Location of production </a:t>
            </a:r>
          </a:p>
        </p:txBody>
      </p:sp>
      <p:sp>
        <p:nvSpPr>
          <p:cNvPr id="54278" name="Rectangle 1027"/>
          <p:cNvSpPr txBox="1">
            <a:spLocks noChangeArrowheads="1"/>
          </p:cNvSpPr>
          <p:nvPr/>
        </p:nvSpPr>
        <p:spPr bwMode="auto">
          <a:xfrm>
            <a:off x="150000" y="1439100"/>
            <a:ext cx="518477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altLang="de-DE" sz="1800" b="1" dirty="0"/>
              <a:t>Production in </a:t>
            </a:r>
            <a:r>
              <a:rPr lang="en-US" altLang="de-DE" sz="1800" b="1" u="sng" dirty="0" err="1"/>
              <a:t>Phillipstha</a:t>
            </a:r>
            <a:r>
              <a:rPr lang="en-US" altLang="de-DE" sz="1800" b="1" dirty="0" err="1"/>
              <a:t>l</a:t>
            </a:r>
            <a:r>
              <a:rPr lang="en-US" altLang="de-DE" sz="1800" b="1" dirty="0"/>
              <a:t>, Germany: </a:t>
            </a:r>
          </a:p>
          <a:p>
            <a:pPr>
              <a:buClr>
                <a:schemeClr val="accent1"/>
              </a:buClr>
            </a:pPr>
            <a:r>
              <a:rPr lang="en-US" altLang="de-DE" sz="1800" b="1" dirty="0"/>
              <a:t>grease separators from stainless steel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365124" y="4306430"/>
            <a:ext cx="60488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 smtClean="0"/>
              <a:t>after </a:t>
            </a:r>
            <a:r>
              <a:rPr lang="de-DE" sz="1800" dirty="0" err="1" smtClean="0"/>
              <a:t>manufactering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grease</a:t>
            </a:r>
            <a:r>
              <a:rPr lang="de-DE" sz="1800" dirty="0" smtClean="0"/>
              <a:t> </a:t>
            </a:r>
            <a:r>
              <a:rPr lang="de-DE" sz="1800" dirty="0" err="1" smtClean="0"/>
              <a:t>separators</a:t>
            </a:r>
            <a:r>
              <a:rPr lang="de-DE" sz="1800" dirty="0" smtClean="0"/>
              <a:t>,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b="1" dirty="0" smtClean="0"/>
              <a:t>final </a:t>
            </a:r>
            <a:r>
              <a:rPr lang="de-DE" sz="1800" b="1" dirty="0" err="1" smtClean="0"/>
              <a:t>assembly</a:t>
            </a:r>
            <a:r>
              <a:rPr lang="de-DE" sz="1800" b="1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b="1" dirty="0" err="1" smtClean="0"/>
              <a:t>inner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fitting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or</a:t>
            </a:r>
            <a:r>
              <a:rPr lang="de-DE" sz="1800" b="1" dirty="0" smtClean="0"/>
              <a:t> </a:t>
            </a:r>
            <a:r>
              <a:rPr lang="de-DE" sz="1800" b="1" dirty="0" err="1" smtClean="0"/>
              <a:t>pumps</a:t>
            </a:r>
            <a:r>
              <a:rPr lang="de-DE" sz="1800" b="1" dirty="0" smtClean="0"/>
              <a:t> </a:t>
            </a:r>
            <a:r>
              <a:rPr lang="de-DE" sz="1800" dirty="0" err="1" smtClean="0"/>
              <a:t>takes</a:t>
            </a:r>
            <a:r>
              <a:rPr lang="de-DE" sz="1800" dirty="0" smtClean="0"/>
              <a:t> </a:t>
            </a:r>
            <a:r>
              <a:rPr lang="de-DE" sz="1800" dirty="0" err="1" smtClean="0"/>
              <a:t>place</a:t>
            </a:r>
            <a:r>
              <a:rPr lang="de-DE" sz="1800" dirty="0" smtClean="0"/>
              <a:t> also in Stadtlengsfeld</a:t>
            </a:r>
            <a:endParaRPr lang="de-DE" sz="1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0185" y="2000700"/>
            <a:ext cx="3676650" cy="50101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55299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5300" name="Text Box 4"/>
          <p:cNvSpPr txBox="1">
            <a:spLocks noChangeArrowheads="1"/>
          </p:cNvSpPr>
          <p:nvPr/>
        </p:nvSpPr>
        <p:spPr bwMode="auto">
          <a:xfrm>
            <a:off x="1386681" y="2828131"/>
            <a:ext cx="7894638" cy="282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altLang="de-DE" sz="3600" b="1" dirty="0">
                <a:solidFill>
                  <a:schemeClr val="bg1"/>
                </a:solidFill>
              </a:rPr>
              <a:t>Certification</a:t>
            </a:r>
            <a:r>
              <a:rPr lang="de-DE" altLang="de-DE" sz="3600" b="1" dirty="0" smtClean="0">
                <a:solidFill>
                  <a:schemeClr val="bg1"/>
                </a:solidFill>
              </a:rPr>
              <a:t>, Product </a:t>
            </a:r>
            <a:r>
              <a:rPr lang="de-DE" altLang="de-DE" sz="3600" b="1" dirty="0">
                <a:solidFill>
                  <a:schemeClr val="bg1"/>
                </a:solidFill>
              </a:rPr>
              <a:t>Monitoring &amp; </a:t>
            </a:r>
            <a:r>
              <a:rPr lang="de-DE" altLang="de-DE" sz="3600" b="1" dirty="0" smtClean="0">
                <a:solidFill>
                  <a:schemeClr val="bg1"/>
                </a:solidFill>
              </a:rPr>
              <a:t>Approvals</a:t>
            </a:r>
            <a:endParaRPr lang="de-DE" altLang="de-DE" sz="3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695265" y="229500"/>
            <a:ext cx="7048500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altLang="de-DE" dirty="0" smtClean="0"/>
              <a:t>Certification </a:t>
            </a:r>
            <a:br>
              <a:rPr lang="de-DE" altLang="de-DE" dirty="0" smtClean="0"/>
            </a:br>
            <a:r>
              <a:rPr lang="de-DE" altLang="de-DE" dirty="0" smtClean="0"/>
              <a:t>Well Organisized Process Sequences </a:t>
            </a:r>
          </a:p>
        </p:txBody>
      </p:sp>
      <p:sp>
        <p:nvSpPr>
          <p:cNvPr id="56323" name="Rectangle 1027"/>
          <p:cNvSpPr txBox="1">
            <a:spLocks noChangeArrowheads="1"/>
          </p:cNvSpPr>
          <p:nvPr/>
        </p:nvSpPr>
        <p:spPr bwMode="auto">
          <a:xfrm>
            <a:off x="365125" y="6709800"/>
            <a:ext cx="734536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altLang="de-DE" sz="1800" b="1" dirty="0"/>
              <a:t>The location of production is </a:t>
            </a:r>
            <a:r>
              <a:rPr lang="de-DE" altLang="de-DE" sz="1800" b="1" dirty="0"/>
              <a:t>regularily and voluntarily</a:t>
            </a:r>
          </a:p>
          <a:p>
            <a:pPr>
              <a:buClr>
                <a:schemeClr val="accent1"/>
              </a:buClr>
            </a:pPr>
            <a:r>
              <a:rPr lang="de-DE" altLang="de-DE" sz="1800" b="1" dirty="0"/>
              <a:t>certificated according to EN ISO 9001:2000</a:t>
            </a:r>
            <a:r>
              <a:rPr lang="de-DE" altLang="de-DE" sz="1800" dirty="0"/>
              <a:t>.</a:t>
            </a:r>
            <a:endParaRPr lang="en-US" altLang="de-DE" sz="1800" b="1" dirty="0"/>
          </a:p>
          <a:p>
            <a:pPr>
              <a:buClr>
                <a:schemeClr val="accent1"/>
              </a:buClr>
            </a:pPr>
            <a:endParaRPr lang="en-US" altLang="de-DE" sz="1800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0800" y="2459808"/>
            <a:ext cx="4871925" cy="31417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3600" y="1511299"/>
            <a:ext cx="3648075" cy="50387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7048500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altLang="de-DE" smtClean="0"/>
              <a:t>Product Monitoring &amp; Approvals</a:t>
            </a:r>
          </a:p>
        </p:txBody>
      </p:sp>
      <p:sp>
        <p:nvSpPr>
          <p:cNvPr id="57347" name="Rectangle 1027"/>
          <p:cNvSpPr txBox="1">
            <a:spLocks noChangeArrowheads="1"/>
          </p:cNvSpPr>
          <p:nvPr/>
        </p:nvSpPr>
        <p:spPr bwMode="auto">
          <a:xfrm>
            <a:off x="236400" y="6666600"/>
            <a:ext cx="1030287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>
              <a:buClr>
                <a:schemeClr val="accent1"/>
              </a:buClr>
            </a:pPr>
            <a:r>
              <a:rPr lang="en-US" altLang="de-DE" sz="1800" b="1"/>
              <a:t>All grease separators series </a:t>
            </a:r>
            <a:r>
              <a:rPr lang="en-US" altLang="de-DE" sz="1800" b="1" smtClean="0"/>
              <a:t>are type tested for efficiency according to EN 1825</a:t>
            </a:r>
            <a:endParaRPr lang="en-US" altLang="de-DE" sz="1800" b="1"/>
          </a:p>
        </p:txBody>
      </p:sp>
      <p:pic>
        <p:nvPicPr>
          <p:cNvPr id="57348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62788" y="1568450"/>
            <a:ext cx="3305175" cy="46037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18900000" algn="ctr" rotWithShape="0">
              <a:srgbClr val="5F5F5F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61443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1444" name="Text Box 4"/>
          <p:cNvSpPr txBox="1">
            <a:spLocks noChangeArrowheads="1"/>
          </p:cNvSpPr>
          <p:nvPr/>
        </p:nvSpPr>
        <p:spPr bwMode="auto">
          <a:xfrm>
            <a:off x="1386681" y="3167100"/>
            <a:ext cx="7894638" cy="282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altLang="de-DE" sz="3600" b="1" dirty="0">
                <a:solidFill>
                  <a:schemeClr val="bg1"/>
                </a:solidFill>
              </a:rPr>
              <a:t>Some References…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9050" y="-4763"/>
            <a:ext cx="10706100" cy="75533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2226"/>
            <a:ext cx="10668000" cy="758825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7048500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altLang="de-DE" smtClean="0"/>
              <a:t>Agenda</a:t>
            </a:r>
          </a:p>
        </p:txBody>
      </p:sp>
      <p:sp>
        <p:nvSpPr>
          <p:cNvPr id="19468" name="Rectangle 1027"/>
          <p:cNvSpPr txBox="1">
            <a:spLocks noChangeArrowheads="1"/>
          </p:cNvSpPr>
          <p:nvPr/>
        </p:nvSpPr>
        <p:spPr bwMode="auto">
          <a:xfrm>
            <a:off x="538161" y="2432700"/>
            <a:ext cx="9850437" cy="466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9pPr>
          </a:lstStyle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r>
              <a:rPr lang="en-US" sz="2000" b="1" dirty="0" smtClean="0">
                <a:solidFill>
                  <a:schemeClr val="tx1"/>
                </a:solidFill>
              </a:rPr>
              <a:t>Greasy waste water: the origin and problems</a:t>
            </a: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endParaRPr lang="en-US" sz="2000" b="1" dirty="0" smtClean="0">
              <a:solidFill>
                <a:schemeClr val="tx1"/>
              </a:solidFill>
            </a:endParaRP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r>
              <a:rPr lang="en-US" sz="2000" b="1" dirty="0" smtClean="0">
                <a:solidFill>
                  <a:schemeClr val="tx1"/>
                </a:solidFill>
              </a:rPr>
              <a:t>Function, operation, disposal and advantages of grease separators</a:t>
            </a: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endParaRPr lang="en-US" sz="2000" b="1" dirty="0" smtClean="0">
              <a:solidFill>
                <a:schemeClr val="tx1"/>
              </a:solidFill>
            </a:endParaRP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r>
              <a:rPr lang="en-US" sz="2000" b="1" dirty="0" smtClean="0">
                <a:solidFill>
                  <a:schemeClr val="tx1"/>
                </a:solidFill>
              </a:rPr>
              <a:t>ACO grease separators: product portfolio (full disposal)</a:t>
            </a: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endParaRPr lang="en-US" sz="2000" b="1" dirty="0" smtClean="0">
              <a:solidFill>
                <a:schemeClr val="tx1"/>
              </a:solidFill>
            </a:endParaRP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r>
              <a:rPr lang="en-US" sz="2000" b="1" dirty="0" smtClean="0">
                <a:solidFill>
                  <a:schemeClr val="tx1"/>
                </a:solidFill>
              </a:rPr>
              <a:t>ACO grease separators: product portfolio (partial disposal)</a:t>
            </a: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endParaRPr lang="en-US" sz="2000" b="1" dirty="0" smtClean="0">
              <a:solidFill>
                <a:schemeClr val="tx1"/>
              </a:solidFill>
            </a:endParaRP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r>
              <a:rPr lang="en-US" sz="2000" b="1" dirty="0" smtClean="0">
                <a:solidFill>
                  <a:schemeClr val="tx1"/>
                </a:solidFill>
              </a:rPr>
              <a:t>Certifications, product monitoring and approvals</a:t>
            </a: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endParaRPr lang="en-US" sz="2000" b="1" dirty="0">
              <a:solidFill>
                <a:schemeClr val="tx1"/>
              </a:solidFill>
            </a:endParaRP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r>
              <a:rPr lang="en-US" sz="2000" b="1" dirty="0" smtClean="0">
                <a:solidFill>
                  <a:schemeClr val="tx1"/>
                </a:solidFill>
              </a:rPr>
              <a:t>References</a:t>
            </a: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endParaRPr lang="en-US" sz="2000" b="1" dirty="0" smtClean="0">
              <a:solidFill>
                <a:schemeClr val="tx1"/>
              </a:solidFill>
            </a:endParaRP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endParaRPr lang="en-US" sz="2000" b="1" dirty="0" smtClean="0">
              <a:solidFill>
                <a:schemeClr val="tx1"/>
              </a:solidFill>
            </a:endParaRPr>
          </a:p>
          <a:p>
            <a:pPr eaLnBrk="0" hangingPunct="0">
              <a:buClr>
                <a:schemeClr val="accent1"/>
              </a:buClr>
              <a:buFontTx/>
              <a:buChar char="•"/>
              <a:defRPr/>
            </a:pPr>
            <a:endParaRPr lang="en-US" sz="2000" b="1" dirty="0" smtClean="0">
              <a:solidFill>
                <a:schemeClr val="tx1"/>
              </a:solidFill>
            </a:endParaRPr>
          </a:p>
          <a:p>
            <a:pPr eaLnBrk="0" hangingPunct="0">
              <a:buClr>
                <a:schemeClr val="accent1"/>
              </a:buClr>
              <a:defRPr/>
            </a:pPr>
            <a:endParaRPr lang="en-US" sz="2000" b="1" dirty="0" smtClean="0">
              <a:solidFill>
                <a:schemeClr val="tx1"/>
              </a:solidFill>
            </a:endParaRP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2000" b="1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5398"/>
            <a:ext cx="10668000" cy="7574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74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60"/>
            <a:ext cx="10668000" cy="758212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66563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6564" name="Text Box 4"/>
          <p:cNvSpPr txBox="1">
            <a:spLocks noChangeArrowheads="1"/>
          </p:cNvSpPr>
          <p:nvPr/>
        </p:nvSpPr>
        <p:spPr bwMode="auto">
          <a:xfrm>
            <a:off x="2115600" y="3296700"/>
            <a:ext cx="6436800" cy="95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altLang="de-DE" sz="3600" b="1" dirty="0" smtClean="0">
                <a:solidFill>
                  <a:schemeClr val="bg1"/>
                </a:solidFill>
              </a:rPr>
              <a:t>Questions &amp; answers</a:t>
            </a:r>
            <a:endParaRPr lang="de-DE" altLang="de-DE" sz="3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7171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7172" name="Text Box 4"/>
          <p:cNvSpPr txBox="1">
            <a:spLocks noChangeArrowheads="1"/>
          </p:cNvSpPr>
          <p:nvPr/>
        </p:nvSpPr>
        <p:spPr bwMode="auto">
          <a:xfrm>
            <a:off x="1787062" y="2908250"/>
            <a:ext cx="7093875" cy="172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altLang="de-DE" sz="3600" b="1" dirty="0">
                <a:solidFill>
                  <a:schemeClr val="bg1"/>
                </a:solidFill>
              </a:rPr>
              <a:t>Greasy </a:t>
            </a:r>
            <a:r>
              <a:rPr lang="de-DE" altLang="de-DE" sz="3600" b="1" dirty="0" smtClean="0">
                <a:solidFill>
                  <a:schemeClr val="bg1"/>
                </a:solidFill>
              </a:rPr>
              <a:t>Waste Water</a:t>
            </a:r>
            <a:r>
              <a:rPr lang="de-DE" altLang="de-DE" sz="3600" b="1" dirty="0">
                <a:solidFill>
                  <a:schemeClr val="bg1"/>
                </a:solidFill>
              </a:rPr>
              <a:t>: </a:t>
            </a:r>
            <a:br>
              <a:rPr lang="de-DE" altLang="de-DE" sz="3600" b="1" dirty="0">
                <a:solidFill>
                  <a:schemeClr val="bg1"/>
                </a:solidFill>
              </a:rPr>
            </a:br>
            <a:r>
              <a:rPr lang="de-DE" altLang="de-DE" sz="3600" b="1" dirty="0">
                <a:solidFill>
                  <a:schemeClr val="bg1"/>
                </a:solidFill>
              </a:rPr>
              <a:t>the origin and problems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7048500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altLang="de-DE" dirty="0" smtClean="0"/>
              <a:t>The Origin of Greasy Waste Water</a:t>
            </a:r>
          </a:p>
        </p:txBody>
      </p:sp>
      <p:sp>
        <p:nvSpPr>
          <p:cNvPr id="6" name="Rectangle 1027"/>
          <p:cNvSpPr txBox="1">
            <a:spLocks noChangeArrowheads="1"/>
          </p:cNvSpPr>
          <p:nvPr/>
        </p:nvSpPr>
        <p:spPr bwMode="auto">
          <a:xfrm>
            <a:off x="236948" y="2130425"/>
            <a:ext cx="9720262" cy="1122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9pPr>
          </a:lstStyle>
          <a:p>
            <a:pPr marL="0" indent="0" eaLnBrk="0" hangingPunct="0">
              <a:buClr>
                <a:schemeClr val="accent1"/>
              </a:buClr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In </a:t>
            </a:r>
            <a:r>
              <a:rPr lang="en-US" sz="1800" b="1" dirty="0" smtClean="0">
                <a:solidFill>
                  <a:schemeClr val="tx1"/>
                </a:solidFill>
              </a:rPr>
              <a:t>commercial kitchens (special case “slaughterhouses”)</a:t>
            </a:r>
            <a:r>
              <a:rPr lang="en-US" sz="1800" dirty="0" smtClean="0">
                <a:solidFill>
                  <a:schemeClr val="tx1"/>
                </a:solidFill>
              </a:rPr>
              <a:t> of </a:t>
            </a:r>
            <a:r>
              <a:rPr lang="en-US" sz="1800" b="1" dirty="0" smtClean="0">
                <a:solidFill>
                  <a:schemeClr val="tx1"/>
                </a:solidFill>
              </a:rPr>
              <a:t>restaurants, hotels, universities, hospitals and enterprises</a:t>
            </a:r>
            <a:r>
              <a:rPr lang="en-US" sz="1800" dirty="0" smtClean="0">
                <a:solidFill>
                  <a:schemeClr val="tx1"/>
                </a:solidFill>
              </a:rPr>
              <a:t> greasy waste water is produced during:</a:t>
            </a: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eaLnBrk="0" hangingPunct="0">
              <a:buClr>
                <a:schemeClr val="accent1"/>
              </a:buClr>
              <a:buFontTx/>
              <a:buChar char="•"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232427" y="6482521"/>
            <a:ext cx="324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800" b="1" dirty="0" smtClean="0"/>
              <a:t>Food Preparation</a:t>
            </a:r>
            <a:endParaRPr lang="de-DE" sz="1800" b="1" dirty="0"/>
          </a:p>
        </p:txBody>
      </p:sp>
      <p:sp>
        <p:nvSpPr>
          <p:cNvPr id="11" name="Textfeld 10"/>
          <p:cNvSpPr txBox="1"/>
          <p:nvPr/>
        </p:nvSpPr>
        <p:spPr>
          <a:xfrm>
            <a:off x="3749048" y="6482521"/>
            <a:ext cx="324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800" b="1" dirty="0" smtClean="0"/>
              <a:t>Cleaning of the Kitchen Equipment</a:t>
            </a:r>
            <a:endParaRPr lang="de-DE" sz="1800" b="1" dirty="0"/>
          </a:p>
        </p:txBody>
      </p:sp>
      <p:sp>
        <p:nvSpPr>
          <p:cNvPr id="12" name="Textfeld 11"/>
          <p:cNvSpPr txBox="1"/>
          <p:nvPr/>
        </p:nvSpPr>
        <p:spPr>
          <a:xfrm>
            <a:off x="7164736" y="6497789"/>
            <a:ext cx="324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800" b="1" dirty="0" smtClean="0"/>
              <a:t>Dishwashing</a:t>
            </a:r>
            <a:endParaRPr lang="de-DE" sz="1800" b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61" y="3815100"/>
            <a:ext cx="10302000" cy="255302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1" grpId="0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alt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altLang="de-DE" smtClean="0">
                <a:solidFill>
                  <a:srgbClr val="000000"/>
                </a:solidFill>
              </a:rPr>
            </a:br>
            <a:r>
              <a:rPr lang="de-DE" alt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10243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10244" name="Text Box 4"/>
          <p:cNvSpPr txBox="1">
            <a:spLocks noChangeArrowheads="1"/>
          </p:cNvSpPr>
          <p:nvPr/>
        </p:nvSpPr>
        <p:spPr bwMode="auto">
          <a:xfrm>
            <a:off x="1057200" y="2361406"/>
            <a:ext cx="8736013" cy="282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altLang="de-DE" sz="3600" b="1" dirty="0">
                <a:solidFill>
                  <a:schemeClr val="bg1"/>
                </a:solidFill>
              </a:rPr>
              <a:t>Fats, </a:t>
            </a:r>
            <a:r>
              <a:rPr lang="de-DE" altLang="de-DE" sz="3600" b="1" dirty="0" smtClean="0">
                <a:solidFill>
                  <a:schemeClr val="bg1"/>
                </a:solidFill>
              </a:rPr>
              <a:t>Oils </a:t>
            </a:r>
            <a:r>
              <a:rPr lang="de-DE" altLang="de-DE" sz="3600" b="1" dirty="0">
                <a:solidFill>
                  <a:schemeClr val="bg1"/>
                </a:solidFill>
              </a:rPr>
              <a:t>and G</a:t>
            </a:r>
            <a:r>
              <a:rPr lang="de-DE" altLang="de-DE" sz="3600" b="1" dirty="0" smtClean="0">
                <a:solidFill>
                  <a:schemeClr val="bg1"/>
                </a:solidFill>
              </a:rPr>
              <a:t>rease </a:t>
            </a:r>
            <a:r>
              <a:rPr lang="de-DE" altLang="de-DE" sz="3600" b="1" dirty="0">
                <a:solidFill>
                  <a:schemeClr val="bg1"/>
                </a:solidFill>
              </a:rPr>
              <a:t>(FOG) </a:t>
            </a:r>
            <a:endParaRPr lang="de-DE" altLang="de-DE" sz="3600" b="1" dirty="0" smtClean="0">
              <a:solidFill>
                <a:schemeClr val="bg1"/>
              </a:solidFill>
            </a:endParaRPr>
          </a:p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altLang="de-DE" sz="3600" b="1" dirty="0" smtClean="0">
                <a:solidFill>
                  <a:schemeClr val="bg1"/>
                </a:solidFill>
              </a:rPr>
              <a:t>from </a:t>
            </a:r>
            <a:r>
              <a:rPr lang="de-DE" altLang="de-DE" sz="3600" b="1" dirty="0">
                <a:solidFill>
                  <a:schemeClr val="bg1"/>
                </a:solidFill>
              </a:rPr>
              <a:t>animals and vegetables can cause severe problems with the drainage systems.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7048500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altLang="de-DE" dirty="0" smtClean="0"/>
              <a:t>The Problems with Greasy Waste Water #1</a:t>
            </a:r>
          </a:p>
        </p:txBody>
      </p:sp>
      <p:sp>
        <p:nvSpPr>
          <p:cNvPr id="7" name="Rectangle 1027"/>
          <p:cNvSpPr txBox="1">
            <a:spLocks noChangeArrowheads="1"/>
          </p:cNvSpPr>
          <p:nvPr/>
        </p:nvSpPr>
        <p:spPr bwMode="auto">
          <a:xfrm>
            <a:off x="538163" y="1784350"/>
            <a:ext cx="9720262" cy="112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9pPr>
          </a:lstStyle>
          <a:p>
            <a:pPr marL="0" indent="0" eaLnBrk="0" hangingPunct="0">
              <a:buClr>
                <a:schemeClr val="accent1"/>
              </a:buClr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The piping of the </a:t>
            </a:r>
            <a:r>
              <a:rPr lang="en-US" sz="1800" b="1" u="sng" dirty="0" smtClean="0">
                <a:solidFill>
                  <a:schemeClr val="tx1"/>
                </a:solidFill>
              </a:rPr>
              <a:t>building</a:t>
            </a:r>
            <a:r>
              <a:rPr lang="en-US" sz="1800" dirty="0" smtClean="0">
                <a:solidFill>
                  <a:schemeClr val="tx1"/>
                </a:solidFill>
              </a:rPr>
              <a:t> can get </a:t>
            </a:r>
            <a:r>
              <a:rPr lang="en-US" sz="1800" b="1" dirty="0" smtClean="0">
                <a:solidFill>
                  <a:schemeClr val="tx1"/>
                </a:solidFill>
              </a:rPr>
              <a:t>clogged</a:t>
            </a:r>
            <a:r>
              <a:rPr lang="en-US" sz="1800" dirty="0" smtClean="0">
                <a:solidFill>
                  <a:schemeClr val="tx1"/>
                </a:solidFill>
              </a:rPr>
              <a:t> due to heavy sedimentation with grease. </a:t>
            </a: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eaLnBrk="0" hangingPunct="0">
              <a:buClr>
                <a:schemeClr val="accent1"/>
              </a:buClr>
              <a:buFontTx/>
              <a:buChar char="•"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sp>
        <p:nvSpPr>
          <p:cNvPr id="6" name="Rectangle 1027"/>
          <p:cNvSpPr txBox="1">
            <a:spLocks noChangeArrowheads="1"/>
          </p:cNvSpPr>
          <p:nvPr/>
        </p:nvSpPr>
        <p:spPr bwMode="auto">
          <a:xfrm>
            <a:off x="533400" y="3902075"/>
            <a:ext cx="5967413" cy="1122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9pPr>
          </a:lstStyle>
          <a:p>
            <a:pPr marL="0" indent="0" eaLnBrk="0" hangingPunct="0">
              <a:buClr>
                <a:schemeClr val="accent1"/>
              </a:buClr>
              <a:defRPr/>
            </a:pPr>
            <a:r>
              <a:rPr lang="en-US" sz="1800" b="1" u="sng" dirty="0" smtClean="0">
                <a:solidFill>
                  <a:schemeClr val="tx1"/>
                </a:solidFill>
              </a:rPr>
              <a:t>Effects: </a:t>
            </a: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42900" indent="-342900" eaLnBrk="0" hangingPunct="0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800" b="1" dirty="0" smtClean="0">
                <a:solidFill>
                  <a:schemeClr val="tx1"/>
                </a:solidFill>
              </a:rPr>
              <a:t>The operation in the kitchen (or the slaughterhouse) must be stopped.</a:t>
            </a: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42900" indent="-342900" eaLnBrk="0" hangingPunct="0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800" b="1" dirty="0" smtClean="0">
                <a:solidFill>
                  <a:schemeClr val="tx1"/>
                </a:solidFill>
              </a:rPr>
              <a:t>Significant funds and time have to be invested to clean the pipes or (in the worst case) to replace defective piping systems.</a:t>
            </a: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eaLnBrk="0" hangingPunct="0">
              <a:buClr>
                <a:schemeClr val="accent1"/>
              </a:buClr>
              <a:buFontTx/>
              <a:buChar char="•"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6800" y="3296700"/>
            <a:ext cx="3844800" cy="387717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7048500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altLang="de-DE" dirty="0" smtClean="0"/>
              <a:t>The Problems with Greasy Waste Water #2</a:t>
            </a:r>
          </a:p>
        </p:txBody>
      </p:sp>
      <p:sp>
        <p:nvSpPr>
          <p:cNvPr id="7" name="Rectangle 1027"/>
          <p:cNvSpPr txBox="1">
            <a:spLocks noChangeArrowheads="1"/>
          </p:cNvSpPr>
          <p:nvPr/>
        </p:nvSpPr>
        <p:spPr bwMode="auto">
          <a:xfrm>
            <a:off x="538163" y="1784350"/>
            <a:ext cx="9720262" cy="112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9pPr>
          </a:lstStyle>
          <a:p>
            <a:pPr marL="0" indent="0" eaLnBrk="0" hangingPunct="0">
              <a:buClr>
                <a:schemeClr val="accent1"/>
              </a:buClr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If greasy waste water reaches </a:t>
            </a:r>
            <a:r>
              <a:rPr lang="en-US" sz="1800" b="1" u="sng" dirty="0" smtClean="0">
                <a:solidFill>
                  <a:schemeClr val="tx1"/>
                </a:solidFill>
              </a:rPr>
              <a:t>public sewage systems</a:t>
            </a:r>
            <a:r>
              <a:rPr lang="en-US" sz="1800" dirty="0" smtClean="0">
                <a:solidFill>
                  <a:schemeClr val="tx1"/>
                </a:solidFill>
              </a:rPr>
              <a:t>, then grease will also sediment there.</a:t>
            </a: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eaLnBrk="0" hangingPunct="0">
              <a:buClr>
                <a:schemeClr val="accent1"/>
              </a:buClr>
              <a:buFontTx/>
              <a:buChar char="•"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sp>
        <p:nvSpPr>
          <p:cNvPr id="6" name="Rectangle 1027"/>
          <p:cNvSpPr txBox="1">
            <a:spLocks noChangeArrowheads="1"/>
          </p:cNvSpPr>
          <p:nvPr/>
        </p:nvSpPr>
        <p:spPr bwMode="auto">
          <a:xfrm>
            <a:off x="495300" y="4592638"/>
            <a:ext cx="5141913" cy="112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3525" indent="-263525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charset="0"/>
              </a:defRPr>
            </a:lvl9pPr>
          </a:lstStyle>
          <a:p>
            <a:pPr marL="0" indent="0" eaLnBrk="0" hangingPunct="0">
              <a:buClr>
                <a:schemeClr val="accent1"/>
              </a:buClr>
              <a:defRPr/>
            </a:pPr>
            <a:r>
              <a:rPr lang="en-US" sz="1800" b="1" u="sng" dirty="0" smtClean="0">
                <a:solidFill>
                  <a:schemeClr val="tx1"/>
                </a:solidFill>
              </a:rPr>
              <a:t>Effect: </a:t>
            </a: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marL="342900" indent="-342900" eaLnBrk="0" hangingPunct="0"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800" b="1" dirty="0" smtClean="0">
                <a:solidFill>
                  <a:schemeClr val="tx1"/>
                </a:solidFill>
              </a:rPr>
              <a:t>Local authorities have to allocate high amounts of tax payer’s money to maintain the public sewer.</a:t>
            </a:r>
            <a:endParaRPr lang="en-US" sz="1800" dirty="0" smtClean="0">
              <a:solidFill>
                <a:schemeClr val="tx1"/>
              </a:solidFill>
            </a:endParaRPr>
          </a:p>
          <a:p>
            <a:pPr marL="457200" indent="-457200" eaLnBrk="0" hangingPunct="0">
              <a:buClr>
                <a:schemeClr val="accent1"/>
              </a:buClr>
              <a:buFontTx/>
              <a:buAutoNum type="arabicPeriod"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eaLnBrk="0" hangingPunct="0">
              <a:buClr>
                <a:schemeClr val="accent1"/>
              </a:buClr>
              <a:buFontTx/>
              <a:buChar char="•"/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 eaLnBrk="0" hangingPunct="0">
              <a:buClr>
                <a:schemeClr val="accent1"/>
              </a:buClr>
              <a:defRPr/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09200" y="3944700"/>
            <a:ext cx="4341562" cy="321398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  <p:tag name="COLORPALETTEDESIGNATOR" val="ACO"/>
  <p:tag name="EXTENDEDCOLORPALETTEDESIGNATOR" val="ACO"/>
  <p:tag name="DATE" val="19 July 2010"/>
  <p:tag name="TOWN" val="Pribyslav"/>
  <p:tag name="AUTHOR" val="Zuzana Vlková Vošická"/>
  <p:tag name="TITLE" val="System House Modula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Agend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Agen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Agen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Agen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Agen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Y2SnSpd0u2wfeDB1tWv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Agen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Agen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9Rybg9UOdldqly00l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L0Fo5Oh0ePAQlzmIhC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Xt1RJMJEClew03vzsa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bXu91ZNUesk6bcfSPb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heme/theme1.xml><?xml version="1.0" encoding="utf-8"?>
<a:theme xmlns:a="http://schemas.openxmlformats.org/drawingml/2006/main" name="3_Benutzerdefiniertes Design">
  <a:themeElements>
    <a:clrScheme name="2_Benutzerdefiniertes Design 1">
      <a:dk1>
        <a:srgbClr val="000000"/>
      </a:dk1>
      <a:lt1>
        <a:srgbClr val="FFFFFF"/>
      </a:lt1>
      <a:dk2>
        <a:srgbClr val="FABA00"/>
      </a:dk2>
      <a:lt2>
        <a:srgbClr val="95AE17"/>
      </a:lt2>
      <a:accent1>
        <a:srgbClr val="E2001A"/>
      </a:accent1>
      <a:accent2>
        <a:srgbClr val="005A9A"/>
      </a:accent2>
      <a:accent3>
        <a:srgbClr val="FFFFFF"/>
      </a:accent3>
      <a:accent4>
        <a:srgbClr val="000000"/>
      </a:accent4>
      <a:accent5>
        <a:srgbClr val="EEAAAB"/>
      </a:accent5>
      <a:accent6>
        <a:srgbClr val="00518B"/>
      </a:accent6>
      <a:hlink>
        <a:srgbClr val="5ABEE4"/>
      </a:hlink>
      <a:folHlink>
        <a:srgbClr val="EC7405"/>
      </a:folHlink>
    </a:clrScheme>
    <a:fontScheme name="2_Benutzerdefiniertes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2_Benutzerdefiniertes Design 1">
        <a:dk1>
          <a:srgbClr val="000000"/>
        </a:dk1>
        <a:lt1>
          <a:srgbClr val="FFFFFF"/>
        </a:lt1>
        <a:dk2>
          <a:srgbClr val="FABA00"/>
        </a:dk2>
        <a:lt2>
          <a:srgbClr val="95AE17"/>
        </a:lt2>
        <a:accent1>
          <a:srgbClr val="E2001A"/>
        </a:accent1>
        <a:accent2>
          <a:srgbClr val="005A9A"/>
        </a:accent2>
        <a:accent3>
          <a:srgbClr val="FFFFFF"/>
        </a:accent3>
        <a:accent4>
          <a:srgbClr val="000000"/>
        </a:accent4>
        <a:accent5>
          <a:srgbClr val="EEAAAB"/>
        </a:accent5>
        <a:accent6>
          <a:srgbClr val="00518B"/>
        </a:accent6>
        <a:hlink>
          <a:srgbClr val="5ABEE4"/>
        </a:hlink>
        <a:folHlink>
          <a:srgbClr val="EC74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</TotalTime>
  <Words>908</Words>
  <Application>Microsoft Office PowerPoint</Application>
  <PresentationFormat>Custom</PresentationFormat>
  <Paragraphs>192</Paragraphs>
  <Slides>42</Slides>
  <Notes>2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8" baseType="lpstr">
      <vt:lpstr>Arial</vt:lpstr>
      <vt:lpstr>StoneSans-Bold</vt:lpstr>
      <vt:lpstr>Times New Roman</vt:lpstr>
      <vt:lpstr>Verdana</vt:lpstr>
      <vt:lpstr>Wingdings</vt:lpstr>
      <vt:lpstr>3_Benutzerdefiniertes Design</vt:lpstr>
      <vt:lpstr>Grease Separators from  ACO Haustechnik</vt:lpstr>
      <vt:lpstr>PowerPoint Presentation</vt:lpstr>
      <vt:lpstr>Headline, Verdana Fett 20 P. Maximal  zwei Zeilen. Zeilenabstand 1,1 Zeilen.</vt:lpstr>
      <vt:lpstr>Agenda</vt:lpstr>
      <vt:lpstr>Headline, Verdana Fett 20 P. Maximal  zwei Zeilen. Zeilenabstand 1,1 Zeilen.</vt:lpstr>
      <vt:lpstr>The Origin of Greasy Waste Water</vt:lpstr>
      <vt:lpstr>Headline, Verdana Fett 20 P. Maximal  zwei Zeilen. Zeilenabstand 1,1 Zeilen.</vt:lpstr>
      <vt:lpstr>The Problems with Greasy Waste Water #1</vt:lpstr>
      <vt:lpstr>The Problems with Greasy Waste Water #2</vt:lpstr>
      <vt:lpstr>The Problems with Greasy Waste Water #3</vt:lpstr>
      <vt:lpstr>Headline, Verdana Fett 20 P. Maximal  zwei Zeilen. Zeilenabstand 1,1 Zeilen.</vt:lpstr>
      <vt:lpstr>Grease Separators: Gravity Separation</vt:lpstr>
      <vt:lpstr>Headline, Verdana Fett 20 P. Maximal  zwei Zeilen. Zeilenabstand 1,1 Zeilen.</vt:lpstr>
      <vt:lpstr>PowerPoint Presentation</vt:lpstr>
      <vt:lpstr>PowerPoint Presentation</vt:lpstr>
      <vt:lpstr>PowerPoint Presentation</vt:lpstr>
      <vt:lpstr>Headline, Verdana Fett 20 P. Maximal  zwei Zeilen. Zeilenabstand 1,1 Zeilen.</vt:lpstr>
      <vt:lpstr>PowerPoint Presentation</vt:lpstr>
      <vt:lpstr>PowerPoint Presentation</vt:lpstr>
      <vt:lpstr>PowerPoint Presentation</vt:lpstr>
      <vt:lpstr>Headline, Verdana Fett 20 P. Maximal  zwei Zeilen. Zeilenabstand 1,1 Zeilen.</vt:lpstr>
      <vt:lpstr>Headline, Verdana Fett 20 P. Maximal  zwei Zeilen. Zeilenabstand 1,1 Zeilen.</vt:lpstr>
      <vt:lpstr>Above Ground (Indoor) Installation: Example</vt:lpstr>
      <vt:lpstr>PowerPoint Presentation</vt:lpstr>
      <vt:lpstr>Headline, Verdana Fett 20 P. Maximal  zwei Zeilen. Zeilenabstand 1,1 Zeilen.</vt:lpstr>
      <vt:lpstr>Below Ground Installation: Example</vt:lpstr>
      <vt:lpstr>PowerPoint Presentation</vt:lpstr>
      <vt:lpstr>Complete Disposal (Outdoor)</vt:lpstr>
      <vt:lpstr>Headline, Verdana Fett 20 P. Maximal  zwei Zeilen. Zeilenabstand 1,1 Zeilen.</vt:lpstr>
      <vt:lpstr>PowerPoint Presentation</vt:lpstr>
      <vt:lpstr>Headline, Verdana Fett 20 P. Maximal  zwei Zeilen. Zeilenabstand 1,1 Zeilen.</vt:lpstr>
      <vt:lpstr>Location of Production </vt:lpstr>
      <vt:lpstr>Location of production </vt:lpstr>
      <vt:lpstr>Headline, Verdana Fett 20 P. Maximal  zwei Zeilen. Zeilenabstand 1,1 Zeilen.</vt:lpstr>
      <vt:lpstr>Certification  Well Organisized Process Sequences </vt:lpstr>
      <vt:lpstr>Product Monitoring &amp; Approvals</vt:lpstr>
      <vt:lpstr>Headline, Verdana Fett 20 P. Maximal  zwei Zeilen. Zeilenabstand 1,1 Zeilen.</vt:lpstr>
      <vt:lpstr>PowerPoint Presentation</vt:lpstr>
      <vt:lpstr>PowerPoint Presentation</vt:lpstr>
      <vt:lpstr>PowerPoint Presentation</vt:lpstr>
      <vt:lpstr>PowerPoint Presentation</vt:lpstr>
      <vt:lpstr>Headline, Verdana Fett 20 P. Maximal  zwei Zeilen. Zeilenabstand 1,1 Zeilen.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CM China</dc:title>
  <dc:creator>ZuzanaVV</dc:creator>
  <cp:lastModifiedBy>admin</cp:lastModifiedBy>
  <cp:revision>1059</cp:revision>
  <cp:lastPrinted>2001-04-20T07:40:09Z</cp:lastPrinted>
  <dcterms:created xsi:type="dcterms:W3CDTF">2001-04-09T09:41:54Z</dcterms:created>
  <dcterms:modified xsi:type="dcterms:W3CDTF">2016-11-28T06:50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">
    <vt:lpwstr>ACO_template.pot</vt:lpwstr>
  </property>
</Properties>
</file>